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9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1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3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4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58" r:id="rId2"/>
    <p:sldMasterId id="2147485243" r:id="rId3"/>
    <p:sldMasterId id="2147485245" r:id="rId4"/>
    <p:sldMasterId id="2147485259" r:id="rId5"/>
    <p:sldMasterId id="2147485274" r:id="rId6"/>
    <p:sldMasterId id="2147485283" r:id="rId7"/>
    <p:sldMasterId id="2147485289" r:id="rId8"/>
    <p:sldMasterId id="2147485294" r:id="rId9"/>
    <p:sldMasterId id="2147485310" r:id="rId10"/>
    <p:sldMasterId id="2147485327" r:id="rId11"/>
    <p:sldMasterId id="2147485330" r:id="rId12"/>
    <p:sldMasterId id="2147485335" r:id="rId13"/>
    <p:sldMasterId id="2147485364" r:id="rId14"/>
    <p:sldMasterId id="2147485379" r:id="rId15"/>
  </p:sldMasterIdLst>
  <p:notesMasterIdLst>
    <p:notesMasterId r:id="rId22"/>
  </p:notesMasterIdLst>
  <p:handoutMasterIdLst>
    <p:handoutMasterId r:id="rId23"/>
  </p:handoutMasterIdLst>
  <p:sldIdLst>
    <p:sldId id="643" r:id="rId16"/>
    <p:sldId id="632" r:id="rId17"/>
    <p:sldId id="646" r:id="rId18"/>
    <p:sldId id="642" r:id="rId19"/>
    <p:sldId id="634" r:id="rId20"/>
    <p:sldId id="640" r:id="rId21"/>
  </p:sldIdLst>
  <p:sldSz cx="9601200" cy="7315200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15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31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47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6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5796" algn="l" defTabSz="914319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2956" algn="l" defTabSz="914319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114" algn="l" defTabSz="914319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274" algn="l" defTabSz="914319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A2E"/>
    <a:srgbClr val="FF9900"/>
    <a:srgbClr val="A30329"/>
    <a:srgbClr val="FF0000"/>
    <a:srgbClr val="3399FF"/>
    <a:srgbClr val="F2FDE3"/>
    <a:srgbClr val="CFEAF5"/>
    <a:srgbClr val="C7D28A"/>
    <a:srgbClr val="8BA69C"/>
    <a:srgbClr val="D1F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73" autoAdjust="0"/>
    <p:restoredTop sz="91773" autoAdjust="0"/>
  </p:normalViewPr>
  <p:slideViewPr>
    <p:cSldViewPr snapToGrid="0">
      <p:cViewPr>
        <p:scale>
          <a:sx n="100" d="100"/>
          <a:sy n="100" d="100"/>
        </p:scale>
        <p:origin x="-408" y="-72"/>
      </p:cViewPr>
      <p:guideLst>
        <p:guide orient="horz" pos="2275"/>
        <p:guide pos="302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778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69012D-BE21-409F-94B2-7784DE3BB5B2}" type="doc">
      <dgm:prSet loTypeId="urn:microsoft.com/office/officeart/2005/8/layout/chevron2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F44D12B-8CBE-4656-993F-F9FDDED7997F}">
      <dgm:prSet phldrT="[Text]" custT="1"/>
      <dgm:spPr/>
      <dgm:t>
        <a:bodyPr/>
        <a:lstStyle/>
        <a:p>
          <a:r>
            <a:rPr lang="en-US" sz="1800" dirty="0" smtClean="0"/>
            <a:t>2</a:t>
          </a:r>
          <a:endParaRPr lang="en-US" sz="1800" dirty="0"/>
        </a:p>
      </dgm:t>
    </dgm:pt>
    <dgm:pt modelId="{D46F4AA4-6ABF-4B7C-B6AC-B54721BF4E02}" type="parTrans" cxnId="{C5DA0A8E-3BF9-4039-A580-5405ACA21785}">
      <dgm:prSet/>
      <dgm:spPr/>
      <dgm:t>
        <a:bodyPr/>
        <a:lstStyle/>
        <a:p>
          <a:endParaRPr lang="en-US"/>
        </a:p>
      </dgm:t>
    </dgm:pt>
    <dgm:pt modelId="{BFD126D4-D5C5-4916-9648-436ECD3E08BC}" type="sibTrans" cxnId="{C5DA0A8E-3BF9-4039-A580-5405ACA21785}">
      <dgm:prSet/>
      <dgm:spPr/>
      <dgm:t>
        <a:bodyPr/>
        <a:lstStyle/>
        <a:p>
          <a:endParaRPr lang="en-US"/>
        </a:p>
      </dgm:t>
    </dgm:pt>
    <dgm:pt modelId="{4E494280-AA3A-4403-B9AD-4E9A09EE28DB}">
      <dgm:prSet phldrT="[Text]" custT="1"/>
      <dgm:spPr/>
      <dgm:t>
        <a:bodyPr/>
        <a:lstStyle/>
        <a:p>
          <a:r>
            <a:rPr lang="en-US" sz="1800" dirty="0" smtClean="0"/>
            <a:t>Can be utilized across Enterprise</a:t>
          </a:r>
          <a:endParaRPr lang="en-US" sz="1800" dirty="0"/>
        </a:p>
      </dgm:t>
    </dgm:pt>
    <dgm:pt modelId="{7F66B5E7-06AD-4C6E-BC78-45E845E6D8E9}" type="parTrans" cxnId="{89E7B971-1D8E-4653-8A35-5D67E2CC5825}">
      <dgm:prSet/>
      <dgm:spPr/>
      <dgm:t>
        <a:bodyPr/>
        <a:lstStyle/>
        <a:p>
          <a:endParaRPr lang="en-US"/>
        </a:p>
      </dgm:t>
    </dgm:pt>
    <dgm:pt modelId="{6B331C1F-6AB6-4591-8ECC-C4B311DD5773}" type="sibTrans" cxnId="{89E7B971-1D8E-4653-8A35-5D67E2CC5825}">
      <dgm:prSet/>
      <dgm:spPr/>
      <dgm:t>
        <a:bodyPr/>
        <a:lstStyle/>
        <a:p>
          <a:endParaRPr lang="en-US"/>
        </a:p>
      </dgm:t>
    </dgm:pt>
    <dgm:pt modelId="{BA9A8827-5AD8-4DC5-81C6-02E2D1EB42FD}">
      <dgm:prSet phldrT="[Text]" custT="1"/>
      <dgm:spPr/>
      <dgm:t>
        <a:bodyPr/>
        <a:lstStyle/>
        <a:p>
          <a:r>
            <a:rPr lang="en-US" sz="1800" dirty="0" smtClean="0"/>
            <a:t>90% effort reduction</a:t>
          </a:r>
          <a:endParaRPr lang="en-US" sz="1800" dirty="0"/>
        </a:p>
      </dgm:t>
    </dgm:pt>
    <dgm:pt modelId="{7A00E10B-C14E-46E2-9A40-46B786629A14}" type="parTrans" cxnId="{FB946381-C15B-4958-82D1-1FB5CCC5A731}">
      <dgm:prSet/>
      <dgm:spPr/>
      <dgm:t>
        <a:bodyPr/>
        <a:lstStyle/>
        <a:p>
          <a:endParaRPr lang="en-US"/>
        </a:p>
      </dgm:t>
    </dgm:pt>
    <dgm:pt modelId="{3BBAA02A-8DB2-498A-89DD-BFCA61749C48}" type="sibTrans" cxnId="{FB946381-C15B-4958-82D1-1FB5CCC5A731}">
      <dgm:prSet/>
      <dgm:spPr/>
      <dgm:t>
        <a:bodyPr/>
        <a:lstStyle/>
        <a:p>
          <a:endParaRPr lang="en-US"/>
        </a:p>
      </dgm:t>
    </dgm:pt>
    <dgm:pt modelId="{779514A2-97D9-42DE-A674-3B64D01DC456}">
      <dgm:prSet phldrT="[Text]" custT="1"/>
      <dgm:spPr/>
      <dgm:t>
        <a:bodyPr/>
        <a:lstStyle/>
        <a:p>
          <a:r>
            <a:rPr lang="en-US" sz="1800" dirty="0" smtClean="0"/>
            <a:t>3</a:t>
          </a:r>
          <a:endParaRPr lang="en-US" sz="1800" dirty="0"/>
        </a:p>
      </dgm:t>
    </dgm:pt>
    <dgm:pt modelId="{7E69571F-85C4-4493-9792-51017679A8A2}" type="parTrans" cxnId="{F5A7BBFC-9102-49C6-A17C-77EFBF24017D}">
      <dgm:prSet/>
      <dgm:spPr/>
      <dgm:t>
        <a:bodyPr/>
        <a:lstStyle/>
        <a:p>
          <a:endParaRPr lang="en-US"/>
        </a:p>
      </dgm:t>
    </dgm:pt>
    <dgm:pt modelId="{768F6AC4-4364-4C50-9609-99893F9F2357}" type="sibTrans" cxnId="{F5A7BBFC-9102-49C6-A17C-77EFBF24017D}">
      <dgm:prSet/>
      <dgm:spPr/>
      <dgm:t>
        <a:bodyPr/>
        <a:lstStyle/>
        <a:p>
          <a:endParaRPr lang="en-US"/>
        </a:p>
      </dgm:t>
    </dgm:pt>
    <dgm:pt modelId="{4D3E9CEE-B76B-44A6-BD8B-275B8BACD381}">
      <dgm:prSet phldrT="[Text]" custT="1"/>
      <dgm:spPr/>
      <dgm:t>
        <a:bodyPr/>
        <a:lstStyle/>
        <a:p>
          <a:r>
            <a:rPr lang="en-US" sz="1800" dirty="0" smtClean="0"/>
            <a:t>1</a:t>
          </a:r>
          <a:endParaRPr lang="en-US" sz="1800" dirty="0"/>
        </a:p>
      </dgm:t>
    </dgm:pt>
    <dgm:pt modelId="{82E9B942-7E6E-43E0-9BFD-EEBA2C1FF7DB}" type="sibTrans" cxnId="{DC115743-911F-46CC-B59B-377ACAEB9D1F}">
      <dgm:prSet/>
      <dgm:spPr/>
      <dgm:t>
        <a:bodyPr/>
        <a:lstStyle/>
        <a:p>
          <a:endParaRPr lang="en-US"/>
        </a:p>
      </dgm:t>
    </dgm:pt>
    <dgm:pt modelId="{61DBDD1E-340D-4502-84E5-54FD41720AC2}" type="parTrans" cxnId="{DC115743-911F-46CC-B59B-377ACAEB9D1F}">
      <dgm:prSet/>
      <dgm:spPr/>
      <dgm:t>
        <a:bodyPr/>
        <a:lstStyle/>
        <a:p>
          <a:endParaRPr lang="en-US"/>
        </a:p>
      </dgm:t>
    </dgm:pt>
    <dgm:pt modelId="{46ADC22B-520A-403C-BFAD-DB286F5C2804}">
      <dgm:prSet phldrT="[Text]" custT="1"/>
      <dgm:spPr/>
      <dgm:t>
        <a:bodyPr/>
        <a:lstStyle/>
        <a:p>
          <a:r>
            <a:rPr lang="en-US" sz="1800" b="0" dirty="0" smtClean="0"/>
            <a:t>Eliminating wait time for device access</a:t>
          </a:r>
          <a:endParaRPr lang="en-US" sz="1800" b="0" dirty="0"/>
        </a:p>
      </dgm:t>
    </dgm:pt>
    <dgm:pt modelId="{FAC5B275-DE27-4BEC-A293-BF45E499C8E9}" type="sibTrans" cxnId="{D9586D28-213C-4F86-9A24-C498F9C18A87}">
      <dgm:prSet/>
      <dgm:spPr/>
      <dgm:t>
        <a:bodyPr/>
        <a:lstStyle/>
        <a:p>
          <a:endParaRPr lang="en-US"/>
        </a:p>
      </dgm:t>
    </dgm:pt>
    <dgm:pt modelId="{CB8716DD-9B02-40A9-902A-F712B887B552}" type="parTrans" cxnId="{D9586D28-213C-4F86-9A24-C498F9C18A87}">
      <dgm:prSet/>
      <dgm:spPr/>
      <dgm:t>
        <a:bodyPr/>
        <a:lstStyle/>
        <a:p>
          <a:endParaRPr lang="en-US"/>
        </a:p>
      </dgm:t>
    </dgm:pt>
    <dgm:pt modelId="{9249CF5D-BE80-4BC2-81D2-11D7D50D02ED}" type="pres">
      <dgm:prSet presAssocID="{AB69012D-BE21-409F-94B2-7784DE3BB5B2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99EC332-F4DE-4A32-8308-F0EF248B028A}" type="pres">
      <dgm:prSet presAssocID="{4D3E9CEE-B76B-44A6-BD8B-275B8BACD381}" presName="composite" presStyleCnt="0"/>
      <dgm:spPr/>
      <dgm:t>
        <a:bodyPr/>
        <a:lstStyle/>
        <a:p>
          <a:endParaRPr lang="en-US"/>
        </a:p>
      </dgm:t>
    </dgm:pt>
    <dgm:pt modelId="{7A8F5AC5-D26A-47EC-BA0D-363996916922}" type="pres">
      <dgm:prSet presAssocID="{4D3E9CEE-B76B-44A6-BD8B-275B8BACD381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992F69-2477-41B0-8CB1-10AF492E479F}" type="pres">
      <dgm:prSet presAssocID="{4D3E9CEE-B76B-44A6-BD8B-275B8BACD381}" presName="descendantText" presStyleLbl="alignAcc1" presStyleIdx="0" presStyleCnt="3" custLinFactNeighborX="1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9C4510-DB1C-48BF-93D5-13ECDEDEDEC0}" type="pres">
      <dgm:prSet presAssocID="{82E9B942-7E6E-43E0-9BFD-EEBA2C1FF7DB}" presName="sp" presStyleCnt="0"/>
      <dgm:spPr/>
      <dgm:t>
        <a:bodyPr/>
        <a:lstStyle/>
        <a:p>
          <a:endParaRPr lang="en-US"/>
        </a:p>
      </dgm:t>
    </dgm:pt>
    <dgm:pt modelId="{9E13DAD9-2CB6-475E-939E-ABFC1070DC49}" type="pres">
      <dgm:prSet presAssocID="{0F44D12B-8CBE-4656-993F-F9FDDED7997F}" presName="composite" presStyleCnt="0"/>
      <dgm:spPr/>
      <dgm:t>
        <a:bodyPr/>
        <a:lstStyle/>
        <a:p>
          <a:endParaRPr lang="en-US"/>
        </a:p>
      </dgm:t>
    </dgm:pt>
    <dgm:pt modelId="{2F741373-F877-42B3-8EA9-C7CA2AFBE0A7}" type="pres">
      <dgm:prSet presAssocID="{0F44D12B-8CBE-4656-993F-F9FDDED7997F}" presName="parentText" presStyleLbl="alignNode1" presStyleIdx="1" presStyleCnt="3" custLinFactNeighborX="-1485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F6AE43-FDD0-4DBB-8C74-1A4038A9F8DF}" type="pres">
      <dgm:prSet presAssocID="{0F44D12B-8CBE-4656-993F-F9FDDED7997F}" presName="descendantText" presStyleLbl="alignAcc1" presStyleIdx="1" presStyleCnt="3" custLinFactNeighborY="72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4D23C3-8C2A-4FD7-866A-BBF1B02045D7}" type="pres">
      <dgm:prSet presAssocID="{BFD126D4-D5C5-4916-9648-436ECD3E08BC}" presName="sp" presStyleCnt="0"/>
      <dgm:spPr/>
      <dgm:t>
        <a:bodyPr/>
        <a:lstStyle/>
        <a:p>
          <a:endParaRPr lang="en-US"/>
        </a:p>
      </dgm:t>
    </dgm:pt>
    <dgm:pt modelId="{80F3FCC1-0905-4BE5-9035-03A0F53876F8}" type="pres">
      <dgm:prSet presAssocID="{779514A2-97D9-42DE-A674-3B64D01DC456}" presName="composite" presStyleCnt="0"/>
      <dgm:spPr/>
    </dgm:pt>
    <dgm:pt modelId="{A463FD2C-FC80-4631-91EE-C7D0AAED45C9}" type="pres">
      <dgm:prSet presAssocID="{779514A2-97D9-42DE-A674-3B64D01DC456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372053-07E3-4F26-B462-3AA5B053217E}" type="pres">
      <dgm:prSet presAssocID="{779514A2-97D9-42DE-A674-3B64D01DC456}" presName="descendantText" presStyleLbl="alignAcc1" presStyleIdx="2" presStyleCnt="3" custLinFactNeighborY="149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B827026-E9B9-46AD-B07A-94C7DF9C4572}" type="presOf" srcId="{0F44D12B-8CBE-4656-993F-F9FDDED7997F}" destId="{2F741373-F877-42B3-8EA9-C7CA2AFBE0A7}" srcOrd="0" destOrd="0" presId="urn:microsoft.com/office/officeart/2005/8/layout/chevron2"/>
    <dgm:cxn modelId="{45372F75-1729-4F4F-9E7D-7D3BF228C650}" type="presOf" srcId="{BA9A8827-5AD8-4DC5-81C6-02E2D1EB42FD}" destId="{A6F6AE43-FDD0-4DBB-8C74-1A4038A9F8DF}" srcOrd="0" destOrd="0" presId="urn:microsoft.com/office/officeart/2005/8/layout/chevron2"/>
    <dgm:cxn modelId="{F5A7BBFC-9102-49C6-A17C-77EFBF24017D}" srcId="{AB69012D-BE21-409F-94B2-7784DE3BB5B2}" destId="{779514A2-97D9-42DE-A674-3B64D01DC456}" srcOrd="2" destOrd="0" parTransId="{7E69571F-85C4-4493-9792-51017679A8A2}" sibTransId="{768F6AC4-4364-4C50-9609-99893F9F2357}"/>
    <dgm:cxn modelId="{89E7B971-1D8E-4653-8A35-5D67E2CC5825}" srcId="{779514A2-97D9-42DE-A674-3B64D01DC456}" destId="{4E494280-AA3A-4403-B9AD-4E9A09EE28DB}" srcOrd="0" destOrd="0" parTransId="{7F66B5E7-06AD-4C6E-BC78-45E845E6D8E9}" sibTransId="{6B331C1F-6AB6-4591-8ECC-C4B311DD5773}"/>
    <dgm:cxn modelId="{FB946381-C15B-4958-82D1-1FB5CCC5A731}" srcId="{0F44D12B-8CBE-4656-993F-F9FDDED7997F}" destId="{BA9A8827-5AD8-4DC5-81C6-02E2D1EB42FD}" srcOrd="0" destOrd="0" parTransId="{7A00E10B-C14E-46E2-9A40-46B786629A14}" sibTransId="{3BBAA02A-8DB2-498A-89DD-BFCA61749C48}"/>
    <dgm:cxn modelId="{800119FA-8703-431A-B78D-197E470CC81A}" type="presOf" srcId="{46ADC22B-520A-403C-BFAD-DB286F5C2804}" destId="{97992F69-2477-41B0-8CB1-10AF492E479F}" srcOrd="0" destOrd="0" presId="urn:microsoft.com/office/officeart/2005/8/layout/chevron2"/>
    <dgm:cxn modelId="{44D03172-DEC4-426F-B9BA-45F0C839AFAB}" type="presOf" srcId="{4D3E9CEE-B76B-44A6-BD8B-275B8BACD381}" destId="{7A8F5AC5-D26A-47EC-BA0D-363996916922}" srcOrd="0" destOrd="0" presId="urn:microsoft.com/office/officeart/2005/8/layout/chevron2"/>
    <dgm:cxn modelId="{3F185FB6-E9C1-4EC1-A7A5-4D8ED28ED006}" type="presOf" srcId="{AB69012D-BE21-409F-94B2-7784DE3BB5B2}" destId="{9249CF5D-BE80-4BC2-81D2-11D7D50D02ED}" srcOrd="0" destOrd="0" presId="urn:microsoft.com/office/officeart/2005/8/layout/chevron2"/>
    <dgm:cxn modelId="{DC115743-911F-46CC-B59B-377ACAEB9D1F}" srcId="{AB69012D-BE21-409F-94B2-7784DE3BB5B2}" destId="{4D3E9CEE-B76B-44A6-BD8B-275B8BACD381}" srcOrd="0" destOrd="0" parTransId="{61DBDD1E-340D-4502-84E5-54FD41720AC2}" sibTransId="{82E9B942-7E6E-43E0-9BFD-EEBA2C1FF7DB}"/>
    <dgm:cxn modelId="{C5DA0A8E-3BF9-4039-A580-5405ACA21785}" srcId="{AB69012D-BE21-409F-94B2-7784DE3BB5B2}" destId="{0F44D12B-8CBE-4656-993F-F9FDDED7997F}" srcOrd="1" destOrd="0" parTransId="{D46F4AA4-6ABF-4B7C-B6AC-B54721BF4E02}" sibTransId="{BFD126D4-D5C5-4916-9648-436ECD3E08BC}"/>
    <dgm:cxn modelId="{1AD1928B-657E-4C42-962C-DAD10270A898}" type="presOf" srcId="{779514A2-97D9-42DE-A674-3B64D01DC456}" destId="{A463FD2C-FC80-4631-91EE-C7D0AAED45C9}" srcOrd="0" destOrd="0" presId="urn:microsoft.com/office/officeart/2005/8/layout/chevron2"/>
    <dgm:cxn modelId="{CEB72D12-E939-41D8-9BA3-857BEB4AF05D}" type="presOf" srcId="{4E494280-AA3A-4403-B9AD-4E9A09EE28DB}" destId="{3C372053-07E3-4F26-B462-3AA5B053217E}" srcOrd="0" destOrd="0" presId="urn:microsoft.com/office/officeart/2005/8/layout/chevron2"/>
    <dgm:cxn modelId="{D9586D28-213C-4F86-9A24-C498F9C18A87}" srcId="{4D3E9CEE-B76B-44A6-BD8B-275B8BACD381}" destId="{46ADC22B-520A-403C-BFAD-DB286F5C2804}" srcOrd="0" destOrd="0" parTransId="{CB8716DD-9B02-40A9-902A-F712B887B552}" sibTransId="{FAC5B275-DE27-4BEC-A293-BF45E499C8E9}"/>
    <dgm:cxn modelId="{63264E3C-F3C2-442B-AB44-FBEA13293137}" type="presParOf" srcId="{9249CF5D-BE80-4BC2-81D2-11D7D50D02ED}" destId="{899EC332-F4DE-4A32-8308-F0EF248B028A}" srcOrd="0" destOrd="0" presId="urn:microsoft.com/office/officeart/2005/8/layout/chevron2"/>
    <dgm:cxn modelId="{15B3282A-27E4-4A5E-A920-E21398B28E4A}" type="presParOf" srcId="{899EC332-F4DE-4A32-8308-F0EF248B028A}" destId="{7A8F5AC5-D26A-47EC-BA0D-363996916922}" srcOrd="0" destOrd="0" presId="urn:microsoft.com/office/officeart/2005/8/layout/chevron2"/>
    <dgm:cxn modelId="{7357A21B-B8EF-4400-8CC3-27367B832E79}" type="presParOf" srcId="{899EC332-F4DE-4A32-8308-F0EF248B028A}" destId="{97992F69-2477-41B0-8CB1-10AF492E479F}" srcOrd="1" destOrd="0" presId="urn:microsoft.com/office/officeart/2005/8/layout/chevron2"/>
    <dgm:cxn modelId="{C067E909-6487-4F7A-B74A-37C10302BA2B}" type="presParOf" srcId="{9249CF5D-BE80-4BC2-81D2-11D7D50D02ED}" destId="{D09C4510-DB1C-48BF-93D5-13ECDEDEDEC0}" srcOrd="1" destOrd="0" presId="urn:microsoft.com/office/officeart/2005/8/layout/chevron2"/>
    <dgm:cxn modelId="{9B59E224-AA78-4EB4-8B35-94F5EF273ADE}" type="presParOf" srcId="{9249CF5D-BE80-4BC2-81D2-11D7D50D02ED}" destId="{9E13DAD9-2CB6-475E-939E-ABFC1070DC49}" srcOrd="2" destOrd="0" presId="urn:microsoft.com/office/officeart/2005/8/layout/chevron2"/>
    <dgm:cxn modelId="{DEEE454B-1196-4AA4-8F60-6AC137E4480E}" type="presParOf" srcId="{9E13DAD9-2CB6-475E-939E-ABFC1070DC49}" destId="{2F741373-F877-42B3-8EA9-C7CA2AFBE0A7}" srcOrd="0" destOrd="0" presId="urn:microsoft.com/office/officeart/2005/8/layout/chevron2"/>
    <dgm:cxn modelId="{EFAA4093-C5B3-4BD8-A471-192F0B64CBC7}" type="presParOf" srcId="{9E13DAD9-2CB6-475E-939E-ABFC1070DC49}" destId="{A6F6AE43-FDD0-4DBB-8C74-1A4038A9F8DF}" srcOrd="1" destOrd="0" presId="urn:microsoft.com/office/officeart/2005/8/layout/chevron2"/>
    <dgm:cxn modelId="{ED3E83F7-D84A-4FFE-9542-E1A671C7DCB9}" type="presParOf" srcId="{9249CF5D-BE80-4BC2-81D2-11D7D50D02ED}" destId="{914D23C3-8C2A-4FD7-866A-BBF1B02045D7}" srcOrd="3" destOrd="0" presId="urn:microsoft.com/office/officeart/2005/8/layout/chevron2"/>
    <dgm:cxn modelId="{70F1D994-17D3-4920-AF7A-BF7C391A7635}" type="presParOf" srcId="{9249CF5D-BE80-4BC2-81D2-11D7D50D02ED}" destId="{80F3FCC1-0905-4BE5-9035-03A0F53876F8}" srcOrd="4" destOrd="0" presId="urn:microsoft.com/office/officeart/2005/8/layout/chevron2"/>
    <dgm:cxn modelId="{2B555D9E-3E7E-4795-A384-EFEBCA603EAA}" type="presParOf" srcId="{80F3FCC1-0905-4BE5-9035-03A0F53876F8}" destId="{A463FD2C-FC80-4631-91EE-C7D0AAED45C9}" srcOrd="0" destOrd="0" presId="urn:microsoft.com/office/officeart/2005/8/layout/chevron2"/>
    <dgm:cxn modelId="{C1A61D7B-3946-450A-A1BD-BB917EDD4EFF}" type="presParOf" srcId="{80F3FCC1-0905-4BE5-9035-03A0F53876F8}" destId="{3C372053-07E3-4F26-B462-3AA5B053217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7FAF18-F59F-4231-A761-77F470BD6F70}" type="doc">
      <dgm:prSet loTypeId="urn:microsoft.com/office/officeart/2005/8/layout/vList3" loCatId="picture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D66F4C-F847-4441-A771-1DB712A438A1}">
      <dgm:prSet phldrT="[Text]" custT="1"/>
      <dgm:spPr/>
      <dgm:t>
        <a:bodyPr/>
        <a:lstStyle/>
        <a:p>
          <a:pPr algn="l"/>
          <a:r>
            <a:rPr lang="en-US" sz="1400" b="1" dirty="0" smtClean="0"/>
            <a:t>Bank Wire</a:t>
          </a:r>
          <a:endParaRPr lang="en-US" sz="1400" b="1" dirty="0"/>
        </a:p>
      </dgm:t>
    </dgm:pt>
    <dgm:pt modelId="{E0B8F3E9-E3D3-41A5-B068-4D85B7ABEBF8}" type="parTrans" cxnId="{6E81B9DC-E298-4B50-A835-8C27DF0BB923}">
      <dgm:prSet/>
      <dgm:spPr/>
      <dgm:t>
        <a:bodyPr/>
        <a:lstStyle/>
        <a:p>
          <a:endParaRPr lang="en-US"/>
        </a:p>
      </dgm:t>
    </dgm:pt>
    <dgm:pt modelId="{05DD37BD-0612-4744-95BF-9B8D0550AF4E}" type="sibTrans" cxnId="{6E81B9DC-E298-4B50-A835-8C27DF0BB923}">
      <dgm:prSet/>
      <dgm:spPr/>
      <dgm:t>
        <a:bodyPr/>
        <a:lstStyle/>
        <a:p>
          <a:endParaRPr lang="en-US"/>
        </a:p>
      </dgm:t>
    </dgm:pt>
    <dgm:pt modelId="{61780467-6369-44C7-8E87-A241125F72D1}">
      <dgm:prSet phldrT="[Text]" custT="1"/>
      <dgm:spPr/>
      <dgm:t>
        <a:bodyPr/>
        <a:lstStyle/>
        <a:p>
          <a:pPr algn="l"/>
          <a:r>
            <a:rPr lang="en-US" sz="1400" b="1" dirty="0" smtClean="0"/>
            <a:t>Electronic Fund Transfer</a:t>
          </a:r>
          <a:endParaRPr lang="en-US" sz="1400" b="1" dirty="0"/>
        </a:p>
      </dgm:t>
    </dgm:pt>
    <dgm:pt modelId="{EC7E817A-02DE-4EE9-A2BA-73C270EDFA85}" type="parTrans" cxnId="{F05C1F59-0514-4D21-8B50-1505D1B3D749}">
      <dgm:prSet/>
      <dgm:spPr/>
      <dgm:t>
        <a:bodyPr/>
        <a:lstStyle/>
        <a:p>
          <a:endParaRPr lang="en-US"/>
        </a:p>
      </dgm:t>
    </dgm:pt>
    <dgm:pt modelId="{C09CFAE4-3DDC-423B-8EFA-86FAEE895C3C}" type="sibTrans" cxnId="{F05C1F59-0514-4D21-8B50-1505D1B3D749}">
      <dgm:prSet/>
      <dgm:spPr/>
      <dgm:t>
        <a:bodyPr/>
        <a:lstStyle/>
        <a:p>
          <a:endParaRPr lang="en-US"/>
        </a:p>
      </dgm:t>
    </dgm:pt>
    <dgm:pt modelId="{E963A7A4-5B8D-41A8-8CA9-E63B4FC60FDC}">
      <dgm:prSet phldrT="[Text]" custT="1"/>
      <dgm:spPr/>
      <dgm:t>
        <a:bodyPr/>
        <a:lstStyle/>
        <a:p>
          <a:pPr algn="l"/>
          <a:r>
            <a:rPr lang="en-US" sz="1400" b="1" dirty="0" smtClean="0"/>
            <a:t>PIN / Password Change</a:t>
          </a:r>
          <a:endParaRPr lang="en-US" sz="1400" b="1" dirty="0"/>
        </a:p>
      </dgm:t>
    </dgm:pt>
    <dgm:pt modelId="{F4A10F35-9B08-4279-99A2-84FE3588B41E}" type="parTrans" cxnId="{513FF84C-1DF7-4ED6-87E9-E81016721221}">
      <dgm:prSet/>
      <dgm:spPr/>
      <dgm:t>
        <a:bodyPr/>
        <a:lstStyle/>
        <a:p>
          <a:endParaRPr lang="en-US"/>
        </a:p>
      </dgm:t>
    </dgm:pt>
    <dgm:pt modelId="{9877E72F-782B-4650-9AA1-9F44AEC31236}" type="sibTrans" cxnId="{513FF84C-1DF7-4ED6-87E9-E81016721221}">
      <dgm:prSet/>
      <dgm:spPr/>
      <dgm:t>
        <a:bodyPr/>
        <a:lstStyle/>
        <a:p>
          <a:endParaRPr lang="en-US"/>
        </a:p>
      </dgm:t>
    </dgm:pt>
    <dgm:pt modelId="{3FFC2A10-4524-48EC-9F66-7A587A7E779A}" type="pres">
      <dgm:prSet presAssocID="{A97FAF18-F59F-4231-A761-77F470BD6F70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FA82322-B839-4DE6-A63A-828210F6F5E6}" type="pres">
      <dgm:prSet presAssocID="{3ED66F4C-F847-4441-A771-1DB712A438A1}" presName="composite" presStyleCnt="0"/>
      <dgm:spPr/>
    </dgm:pt>
    <dgm:pt modelId="{837637B0-382E-48A8-A47A-AA9F59B8E827}" type="pres">
      <dgm:prSet presAssocID="{3ED66F4C-F847-4441-A771-1DB712A438A1}" presName="imgShp" presStyleLbl="fgImgPlace1" presStyleIdx="0" presStyleCnt="3"/>
      <dgm:spPr/>
    </dgm:pt>
    <dgm:pt modelId="{3F06222B-DC63-4F30-97F4-115E7F1254D8}" type="pres">
      <dgm:prSet presAssocID="{3ED66F4C-F847-4441-A771-1DB712A438A1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FA2FEB-613D-4DCE-87C9-9E77A7DC5247}" type="pres">
      <dgm:prSet presAssocID="{05DD37BD-0612-4744-95BF-9B8D0550AF4E}" presName="spacing" presStyleCnt="0"/>
      <dgm:spPr/>
    </dgm:pt>
    <dgm:pt modelId="{5AD418E3-BA81-4A0A-8937-AC7F5D7EA126}" type="pres">
      <dgm:prSet presAssocID="{61780467-6369-44C7-8E87-A241125F72D1}" presName="composite" presStyleCnt="0"/>
      <dgm:spPr/>
    </dgm:pt>
    <dgm:pt modelId="{47ACBBB5-5F95-4378-B45B-18DD42A2B719}" type="pres">
      <dgm:prSet presAssocID="{61780467-6369-44C7-8E87-A241125F72D1}" presName="imgShp" presStyleLbl="fgImgPlace1" presStyleIdx="1" presStyleCnt="3"/>
      <dgm:spPr/>
    </dgm:pt>
    <dgm:pt modelId="{14AFFB12-A8C3-4376-B4CC-85A8B5BAF11A}" type="pres">
      <dgm:prSet presAssocID="{61780467-6369-44C7-8E87-A241125F72D1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29B1C9-E056-4B17-9EA1-B23F59F7A47C}" type="pres">
      <dgm:prSet presAssocID="{C09CFAE4-3DDC-423B-8EFA-86FAEE895C3C}" presName="spacing" presStyleCnt="0"/>
      <dgm:spPr/>
    </dgm:pt>
    <dgm:pt modelId="{BBCF1081-3AD6-49C2-A3E0-100FAA9005BD}" type="pres">
      <dgm:prSet presAssocID="{E963A7A4-5B8D-41A8-8CA9-E63B4FC60FDC}" presName="composite" presStyleCnt="0"/>
      <dgm:spPr/>
    </dgm:pt>
    <dgm:pt modelId="{D52F7282-FC90-49AE-A79A-FBB8BC59AB33}" type="pres">
      <dgm:prSet presAssocID="{E963A7A4-5B8D-41A8-8CA9-E63B4FC60FDC}" presName="imgShp" presStyleLbl="fgImgPlace1" presStyleIdx="2" presStyleCnt="3"/>
      <dgm:spPr/>
    </dgm:pt>
    <dgm:pt modelId="{FA8D9ECD-ACAD-4081-AE96-35B99DDBBC7E}" type="pres">
      <dgm:prSet presAssocID="{E963A7A4-5B8D-41A8-8CA9-E63B4FC60FDC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13FF84C-1DF7-4ED6-87E9-E81016721221}" srcId="{A97FAF18-F59F-4231-A761-77F470BD6F70}" destId="{E963A7A4-5B8D-41A8-8CA9-E63B4FC60FDC}" srcOrd="2" destOrd="0" parTransId="{F4A10F35-9B08-4279-99A2-84FE3588B41E}" sibTransId="{9877E72F-782B-4650-9AA1-9F44AEC31236}"/>
    <dgm:cxn modelId="{6E81B9DC-E298-4B50-A835-8C27DF0BB923}" srcId="{A97FAF18-F59F-4231-A761-77F470BD6F70}" destId="{3ED66F4C-F847-4441-A771-1DB712A438A1}" srcOrd="0" destOrd="0" parTransId="{E0B8F3E9-E3D3-41A5-B068-4D85B7ABEBF8}" sibTransId="{05DD37BD-0612-4744-95BF-9B8D0550AF4E}"/>
    <dgm:cxn modelId="{DC4F554E-8584-47F1-A99D-8066B6896C43}" type="presOf" srcId="{3ED66F4C-F847-4441-A771-1DB712A438A1}" destId="{3F06222B-DC63-4F30-97F4-115E7F1254D8}" srcOrd="0" destOrd="0" presId="urn:microsoft.com/office/officeart/2005/8/layout/vList3"/>
    <dgm:cxn modelId="{BBDA004E-9626-4701-BAB7-E7CCCDE569D5}" type="presOf" srcId="{61780467-6369-44C7-8E87-A241125F72D1}" destId="{14AFFB12-A8C3-4376-B4CC-85A8B5BAF11A}" srcOrd="0" destOrd="0" presId="urn:microsoft.com/office/officeart/2005/8/layout/vList3"/>
    <dgm:cxn modelId="{589734B8-5835-4B52-BD85-668E85C887AB}" type="presOf" srcId="{E963A7A4-5B8D-41A8-8CA9-E63B4FC60FDC}" destId="{FA8D9ECD-ACAD-4081-AE96-35B99DDBBC7E}" srcOrd="0" destOrd="0" presId="urn:microsoft.com/office/officeart/2005/8/layout/vList3"/>
    <dgm:cxn modelId="{F05C1F59-0514-4D21-8B50-1505D1B3D749}" srcId="{A97FAF18-F59F-4231-A761-77F470BD6F70}" destId="{61780467-6369-44C7-8E87-A241125F72D1}" srcOrd="1" destOrd="0" parTransId="{EC7E817A-02DE-4EE9-A2BA-73C270EDFA85}" sibTransId="{C09CFAE4-3DDC-423B-8EFA-86FAEE895C3C}"/>
    <dgm:cxn modelId="{AB5A97B7-A9C4-4672-82AC-2DDF06AFC5AE}" type="presOf" srcId="{A97FAF18-F59F-4231-A761-77F470BD6F70}" destId="{3FFC2A10-4524-48EC-9F66-7A587A7E779A}" srcOrd="0" destOrd="0" presId="urn:microsoft.com/office/officeart/2005/8/layout/vList3"/>
    <dgm:cxn modelId="{A82684C9-0852-488D-901E-716199417EF9}" type="presParOf" srcId="{3FFC2A10-4524-48EC-9F66-7A587A7E779A}" destId="{3FA82322-B839-4DE6-A63A-828210F6F5E6}" srcOrd="0" destOrd="0" presId="urn:microsoft.com/office/officeart/2005/8/layout/vList3"/>
    <dgm:cxn modelId="{FA25B494-553D-46D2-9E1E-879EB2D869D8}" type="presParOf" srcId="{3FA82322-B839-4DE6-A63A-828210F6F5E6}" destId="{837637B0-382E-48A8-A47A-AA9F59B8E827}" srcOrd="0" destOrd="0" presId="urn:microsoft.com/office/officeart/2005/8/layout/vList3"/>
    <dgm:cxn modelId="{BB944D74-F2B8-4A37-A4B8-45FC44E83E1E}" type="presParOf" srcId="{3FA82322-B839-4DE6-A63A-828210F6F5E6}" destId="{3F06222B-DC63-4F30-97F4-115E7F1254D8}" srcOrd="1" destOrd="0" presId="urn:microsoft.com/office/officeart/2005/8/layout/vList3"/>
    <dgm:cxn modelId="{57911C5B-B1D0-47C3-9CB9-2CDD0FEE86AF}" type="presParOf" srcId="{3FFC2A10-4524-48EC-9F66-7A587A7E779A}" destId="{45FA2FEB-613D-4DCE-87C9-9E77A7DC5247}" srcOrd="1" destOrd="0" presId="urn:microsoft.com/office/officeart/2005/8/layout/vList3"/>
    <dgm:cxn modelId="{3D692A35-BFA7-4BED-8B3B-5D43650DEFEC}" type="presParOf" srcId="{3FFC2A10-4524-48EC-9F66-7A587A7E779A}" destId="{5AD418E3-BA81-4A0A-8937-AC7F5D7EA126}" srcOrd="2" destOrd="0" presId="urn:microsoft.com/office/officeart/2005/8/layout/vList3"/>
    <dgm:cxn modelId="{FE00665D-2099-4492-B703-96682C96D0C7}" type="presParOf" srcId="{5AD418E3-BA81-4A0A-8937-AC7F5D7EA126}" destId="{47ACBBB5-5F95-4378-B45B-18DD42A2B719}" srcOrd="0" destOrd="0" presId="urn:microsoft.com/office/officeart/2005/8/layout/vList3"/>
    <dgm:cxn modelId="{249AC197-687E-446F-8D55-9FC124ED18D8}" type="presParOf" srcId="{5AD418E3-BA81-4A0A-8937-AC7F5D7EA126}" destId="{14AFFB12-A8C3-4376-B4CC-85A8B5BAF11A}" srcOrd="1" destOrd="0" presId="urn:microsoft.com/office/officeart/2005/8/layout/vList3"/>
    <dgm:cxn modelId="{020BF644-8903-4CA6-8D46-959B17758953}" type="presParOf" srcId="{3FFC2A10-4524-48EC-9F66-7A587A7E779A}" destId="{B929B1C9-E056-4B17-9EA1-B23F59F7A47C}" srcOrd="3" destOrd="0" presId="urn:microsoft.com/office/officeart/2005/8/layout/vList3"/>
    <dgm:cxn modelId="{CB23CAC2-E477-49AF-BCF5-2FC60BC7E040}" type="presParOf" srcId="{3FFC2A10-4524-48EC-9F66-7A587A7E779A}" destId="{BBCF1081-3AD6-49C2-A3E0-100FAA9005BD}" srcOrd="4" destOrd="0" presId="urn:microsoft.com/office/officeart/2005/8/layout/vList3"/>
    <dgm:cxn modelId="{1121388D-DAB8-4DEA-AA9B-010C1A62B252}" type="presParOf" srcId="{BBCF1081-3AD6-49C2-A3E0-100FAA9005BD}" destId="{D52F7282-FC90-49AE-A79A-FBB8BC59AB33}" srcOrd="0" destOrd="0" presId="urn:microsoft.com/office/officeart/2005/8/layout/vList3"/>
    <dgm:cxn modelId="{EFDAF0AB-5350-42C7-A808-C12A45C4F174}" type="presParOf" srcId="{BBCF1081-3AD6-49C2-A3E0-100FAA9005BD}" destId="{FA8D9ECD-ACAD-4081-AE96-35B99DDBBC7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F5AC5-D26A-47EC-BA0D-363996916922}">
      <dsp:nvSpPr>
        <dsp:cNvPr id="0" name=""/>
        <dsp:cNvSpPr/>
      </dsp:nvSpPr>
      <dsp:spPr>
        <a:xfrm rot="5400000">
          <a:off x="-102763" y="103700"/>
          <a:ext cx="685088" cy="4795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1</a:t>
          </a:r>
          <a:endParaRPr lang="en-US" sz="1800" kern="1200" dirty="0"/>
        </a:p>
      </dsp:txBody>
      <dsp:txXfrm rot="-5400000">
        <a:off x="0" y="240718"/>
        <a:ext cx="479562" cy="205526"/>
      </dsp:txXfrm>
    </dsp:sp>
    <dsp:sp modelId="{97992F69-2477-41B0-8CB1-10AF492E479F}">
      <dsp:nvSpPr>
        <dsp:cNvPr id="0" name=""/>
        <dsp:cNvSpPr/>
      </dsp:nvSpPr>
      <dsp:spPr>
        <a:xfrm rot="5400000">
          <a:off x="3361188" y="-2880689"/>
          <a:ext cx="445541" cy="620879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kern="1200" dirty="0" smtClean="0"/>
            <a:t>Eliminating wait time for device access</a:t>
          </a:r>
          <a:endParaRPr lang="en-US" sz="1800" b="0" kern="1200" dirty="0"/>
        </a:p>
      </dsp:txBody>
      <dsp:txXfrm rot="-5400000">
        <a:off x="479562" y="22687"/>
        <a:ext cx="6187044" cy="402041"/>
      </dsp:txXfrm>
    </dsp:sp>
    <dsp:sp modelId="{2F741373-F877-42B3-8EA9-C7CA2AFBE0A7}">
      <dsp:nvSpPr>
        <dsp:cNvPr id="0" name=""/>
        <dsp:cNvSpPr/>
      </dsp:nvSpPr>
      <dsp:spPr>
        <a:xfrm rot="5400000">
          <a:off x="-102763" y="559100"/>
          <a:ext cx="685088" cy="4795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</a:t>
          </a:r>
          <a:endParaRPr lang="en-US" sz="1800" kern="1200" dirty="0"/>
        </a:p>
      </dsp:txBody>
      <dsp:txXfrm rot="-5400000">
        <a:off x="0" y="696118"/>
        <a:ext cx="479562" cy="205526"/>
      </dsp:txXfrm>
    </dsp:sp>
    <dsp:sp modelId="{A6F6AE43-FDD0-4DBB-8C74-1A4038A9F8DF}">
      <dsp:nvSpPr>
        <dsp:cNvPr id="0" name=""/>
        <dsp:cNvSpPr/>
      </dsp:nvSpPr>
      <dsp:spPr>
        <a:xfrm rot="5400000">
          <a:off x="3361305" y="-2393103"/>
          <a:ext cx="445307" cy="620879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90% effort reduction</a:t>
          </a:r>
          <a:endParaRPr lang="en-US" sz="1800" kern="1200" dirty="0"/>
        </a:p>
      </dsp:txBody>
      <dsp:txXfrm rot="-5400000">
        <a:off x="479562" y="510378"/>
        <a:ext cx="6187056" cy="401831"/>
      </dsp:txXfrm>
    </dsp:sp>
    <dsp:sp modelId="{A463FD2C-FC80-4631-91EE-C7D0AAED45C9}">
      <dsp:nvSpPr>
        <dsp:cNvPr id="0" name=""/>
        <dsp:cNvSpPr/>
      </dsp:nvSpPr>
      <dsp:spPr>
        <a:xfrm rot="5400000">
          <a:off x="-102763" y="1014500"/>
          <a:ext cx="685088" cy="4795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3</a:t>
          </a:r>
          <a:endParaRPr lang="en-US" sz="1800" kern="1200" dirty="0"/>
        </a:p>
      </dsp:txBody>
      <dsp:txXfrm rot="-5400000">
        <a:off x="0" y="1151518"/>
        <a:ext cx="479562" cy="205526"/>
      </dsp:txXfrm>
    </dsp:sp>
    <dsp:sp modelId="{3C372053-07E3-4F26-B462-3AA5B053217E}">
      <dsp:nvSpPr>
        <dsp:cNvPr id="0" name=""/>
        <dsp:cNvSpPr/>
      </dsp:nvSpPr>
      <dsp:spPr>
        <a:xfrm rot="5400000">
          <a:off x="3361305" y="-1903330"/>
          <a:ext cx="445307" cy="620879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Can be utilized across Enterprise</a:t>
          </a:r>
          <a:endParaRPr lang="en-US" sz="1800" kern="1200" dirty="0"/>
        </a:p>
      </dsp:txBody>
      <dsp:txXfrm rot="-5400000">
        <a:off x="479562" y="1000151"/>
        <a:ext cx="6187056" cy="40183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06222B-DC63-4F30-97F4-115E7F1254D8}">
      <dsp:nvSpPr>
        <dsp:cNvPr id="0" name=""/>
        <dsp:cNvSpPr/>
      </dsp:nvSpPr>
      <dsp:spPr>
        <a:xfrm rot="10800000">
          <a:off x="1172777" y="180"/>
          <a:ext cx="4237530" cy="42171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5966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Bank Wire</a:t>
          </a:r>
          <a:endParaRPr lang="en-US" sz="1400" b="1" kern="1200" dirty="0"/>
        </a:p>
      </dsp:txBody>
      <dsp:txXfrm rot="10800000">
        <a:off x="1278206" y="180"/>
        <a:ext cx="4132101" cy="421718"/>
      </dsp:txXfrm>
    </dsp:sp>
    <dsp:sp modelId="{837637B0-382E-48A8-A47A-AA9F59B8E827}">
      <dsp:nvSpPr>
        <dsp:cNvPr id="0" name=""/>
        <dsp:cNvSpPr/>
      </dsp:nvSpPr>
      <dsp:spPr>
        <a:xfrm>
          <a:off x="961918" y="180"/>
          <a:ext cx="421718" cy="42171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14AFFB12-A8C3-4376-B4CC-85A8B5BAF11A}">
      <dsp:nvSpPr>
        <dsp:cNvPr id="0" name=""/>
        <dsp:cNvSpPr/>
      </dsp:nvSpPr>
      <dsp:spPr>
        <a:xfrm rot="10800000">
          <a:off x="1172777" y="527328"/>
          <a:ext cx="4237530" cy="42171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5966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Electronic Fund Transfer</a:t>
          </a:r>
          <a:endParaRPr lang="en-US" sz="1400" b="1" kern="1200" dirty="0"/>
        </a:p>
      </dsp:txBody>
      <dsp:txXfrm rot="10800000">
        <a:off x="1278206" y="527328"/>
        <a:ext cx="4132101" cy="421718"/>
      </dsp:txXfrm>
    </dsp:sp>
    <dsp:sp modelId="{47ACBBB5-5F95-4378-B45B-18DD42A2B719}">
      <dsp:nvSpPr>
        <dsp:cNvPr id="0" name=""/>
        <dsp:cNvSpPr/>
      </dsp:nvSpPr>
      <dsp:spPr>
        <a:xfrm>
          <a:off x="961918" y="527328"/>
          <a:ext cx="421718" cy="42171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A8D9ECD-ACAD-4081-AE96-35B99DDBBC7E}">
      <dsp:nvSpPr>
        <dsp:cNvPr id="0" name=""/>
        <dsp:cNvSpPr/>
      </dsp:nvSpPr>
      <dsp:spPr>
        <a:xfrm rot="10800000">
          <a:off x="1172777" y="1054476"/>
          <a:ext cx="4237530" cy="42171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5966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PIN / Password Change</a:t>
          </a:r>
          <a:endParaRPr lang="en-US" sz="1400" b="1" kern="1200" dirty="0"/>
        </a:p>
      </dsp:txBody>
      <dsp:txXfrm rot="10800000">
        <a:off x="1278206" y="1054476"/>
        <a:ext cx="4132101" cy="421718"/>
      </dsp:txXfrm>
    </dsp:sp>
    <dsp:sp modelId="{D52F7282-FC90-49AE-A79A-FBB8BC59AB33}">
      <dsp:nvSpPr>
        <dsp:cNvPr id="0" name=""/>
        <dsp:cNvSpPr/>
      </dsp:nvSpPr>
      <dsp:spPr>
        <a:xfrm>
          <a:off x="961918" y="1054476"/>
          <a:ext cx="421718" cy="42171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40" tIns="44070" rIns="88140" bIns="44070" numCol="1" anchor="t" anchorCtr="0" compatLnSpc="1">
            <a:prstTxWarp prst="textNoShape">
              <a:avLst/>
            </a:prstTxWarp>
          </a:bodyPr>
          <a:lstStyle>
            <a:lvl1pPr defTabSz="881498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7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436" y="0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40" tIns="44070" rIns="88140" bIns="44070" numCol="1" anchor="t" anchorCtr="0" compatLnSpc="1">
            <a:prstTxWarp prst="textNoShape">
              <a:avLst/>
            </a:prstTxWarp>
          </a:bodyPr>
          <a:lstStyle>
            <a:lvl1pPr algn="r" defTabSz="881498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7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0627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40" tIns="44070" rIns="88140" bIns="44070" numCol="1" anchor="b" anchorCtr="0" compatLnSpc="1">
            <a:prstTxWarp prst="textNoShape">
              <a:avLst/>
            </a:prstTxWarp>
          </a:bodyPr>
          <a:lstStyle>
            <a:lvl1pPr defTabSz="881498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7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436" y="8830627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40" tIns="44070" rIns="88140" bIns="44070" numCol="1" anchor="b" anchorCtr="0" compatLnSpc="1">
            <a:prstTxWarp prst="textNoShape">
              <a:avLst/>
            </a:prstTxWarp>
          </a:bodyPr>
          <a:lstStyle>
            <a:lvl1pPr algn="r" defTabSz="881498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1B2C48D5-FF3A-467F-9536-4F942814CC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933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t" anchorCtr="0" compatLnSpc="1">
            <a:prstTxWarp prst="textNoShape">
              <a:avLst/>
            </a:prstTxWarp>
          </a:bodyPr>
          <a:lstStyle>
            <a:lvl1pPr defTabSz="932415"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436" y="0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t" anchorCtr="0" compatLnSpc="1">
            <a:prstTxWarp prst="textNoShape">
              <a:avLst/>
            </a:prstTxWarp>
          </a:bodyPr>
          <a:lstStyle>
            <a:lvl1pPr algn="r" defTabSz="932415"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17613" y="698500"/>
            <a:ext cx="4575175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0" y="4416108"/>
            <a:ext cx="5608320" cy="4182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0627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b" anchorCtr="0" compatLnSpc="1">
            <a:prstTxWarp prst="textNoShape">
              <a:avLst/>
            </a:prstTxWarp>
          </a:bodyPr>
          <a:lstStyle>
            <a:lvl1pPr defTabSz="932415"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436" y="8830627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b" anchorCtr="0" compatLnSpc="1">
            <a:prstTxWarp prst="textNoShape">
              <a:avLst/>
            </a:prstTxWarp>
          </a:bodyPr>
          <a:lstStyle>
            <a:lvl1pPr algn="r" defTabSz="932415"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fld id="{CA8C8FB7-4FE0-494B-BEC8-9854B46F1C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5904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1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31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4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63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796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6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14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74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724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wmf"/><Relationship Id="rId4" Type="http://schemas.openxmlformats.org/officeDocument/2006/relationships/image" Target="../media/image11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wmf"/><Relationship Id="rId4" Type="http://schemas.openxmlformats.org/officeDocument/2006/relationships/image" Target="../media/image13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wmf"/><Relationship Id="rId4" Type="http://schemas.openxmlformats.org/officeDocument/2006/relationships/image" Target="../media/image9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39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26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4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7" y="6827838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28779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384" y="1263651"/>
            <a:ext cx="4651766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5460001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2" y="5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5032" y="5"/>
            <a:ext cx="1604720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81752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0" y="5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4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1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40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4286344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90" y="5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1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1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40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40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8999259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0" y="5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2" y="1263652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344453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44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738" y="6053138"/>
            <a:ext cx="221615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11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5092" y="1441027"/>
            <a:ext cx="8511064" cy="560493"/>
          </a:xfrm>
        </p:spPr>
        <p:txBody>
          <a:bodyPr anchor="b"/>
          <a:lstStyle>
            <a:lvl1pPr>
              <a:defRPr sz="17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911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1784" y="2076027"/>
            <a:ext cx="8577739" cy="574646"/>
          </a:xfrm>
        </p:spPr>
        <p:txBody>
          <a:bodyPr/>
          <a:lstStyle>
            <a:lvl1pPr>
              <a:spcAft>
                <a:spcPct val="0"/>
              </a:spcAft>
              <a:defRPr sz="31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8" y="6827865"/>
            <a:ext cx="5840412" cy="325437"/>
          </a:xfrm>
        </p:spPr>
        <p:txBody>
          <a:bodyPr anchor="t"/>
          <a:lstStyle>
            <a:lvl1pPr algn="l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Fidelity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6733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3413" y="1056641"/>
            <a:ext cx="8687753" cy="5689600"/>
          </a:xfrm>
        </p:spPr>
        <p:txBody>
          <a:bodyPr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l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Fidelity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3233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429" y="4700697"/>
            <a:ext cx="8161020" cy="1452880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429" y="4273933"/>
            <a:ext cx="8161020" cy="426762"/>
          </a:xfrm>
        </p:spPr>
        <p:txBody>
          <a:bodyPr anchor="b"/>
          <a:lstStyle>
            <a:lvl1pPr marL="0" indent="0">
              <a:buNone/>
              <a:defRPr sz="2100"/>
            </a:lvl1pPr>
            <a:lvl2pPr marL="481349" indent="0">
              <a:buNone/>
              <a:defRPr sz="1900"/>
            </a:lvl2pPr>
            <a:lvl3pPr marL="962698" indent="0">
              <a:buNone/>
              <a:defRPr sz="1700"/>
            </a:lvl3pPr>
            <a:lvl4pPr marL="1444046" indent="0">
              <a:buNone/>
              <a:defRPr sz="1500"/>
            </a:lvl4pPr>
            <a:lvl5pPr marL="1925400" indent="0">
              <a:buNone/>
              <a:defRPr sz="1500"/>
            </a:lvl5pPr>
            <a:lvl6pPr marL="2406750" indent="0">
              <a:buNone/>
              <a:defRPr sz="1500"/>
            </a:lvl6pPr>
            <a:lvl7pPr marL="2888094" indent="0">
              <a:buNone/>
              <a:defRPr sz="1500"/>
            </a:lvl7pPr>
            <a:lvl8pPr marL="3369450" indent="0">
              <a:buNone/>
              <a:defRPr sz="1500"/>
            </a:lvl8pPr>
            <a:lvl9pPr marL="3850796" indent="0"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5071605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3398" y="1549441"/>
            <a:ext cx="4263866" cy="2752165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7284" y="1549441"/>
            <a:ext cx="4263866" cy="2752165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8395373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60" y="292959"/>
            <a:ext cx="8641080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77" y="1433531"/>
            <a:ext cx="4242197" cy="886375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81349" indent="0">
              <a:buNone/>
              <a:defRPr sz="2100" b="1"/>
            </a:lvl2pPr>
            <a:lvl3pPr marL="962698" indent="0">
              <a:buNone/>
              <a:defRPr sz="1900" b="1"/>
            </a:lvl3pPr>
            <a:lvl4pPr marL="1444046" indent="0">
              <a:buNone/>
              <a:defRPr sz="1700" b="1"/>
            </a:lvl4pPr>
            <a:lvl5pPr marL="1925400" indent="0">
              <a:buNone/>
              <a:defRPr sz="1700" b="1"/>
            </a:lvl5pPr>
            <a:lvl6pPr marL="2406750" indent="0">
              <a:buNone/>
              <a:defRPr sz="1700" b="1"/>
            </a:lvl6pPr>
            <a:lvl7pPr marL="2888094" indent="0">
              <a:buNone/>
              <a:defRPr sz="1700" b="1"/>
            </a:lvl7pPr>
            <a:lvl8pPr marL="3369450" indent="0">
              <a:buNone/>
              <a:defRPr sz="1700" b="1"/>
            </a:lvl8pPr>
            <a:lvl9pPr marL="385079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77" y="2319894"/>
            <a:ext cx="4242197" cy="241951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7288" y="1433531"/>
            <a:ext cx="4243864" cy="886375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81349" indent="0">
              <a:buNone/>
              <a:defRPr sz="2100" b="1"/>
            </a:lvl2pPr>
            <a:lvl3pPr marL="962698" indent="0">
              <a:buNone/>
              <a:defRPr sz="1900" b="1"/>
            </a:lvl3pPr>
            <a:lvl4pPr marL="1444046" indent="0">
              <a:buNone/>
              <a:defRPr sz="1700" b="1"/>
            </a:lvl4pPr>
            <a:lvl5pPr marL="1925400" indent="0">
              <a:buNone/>
              <a:defRPr sz="1700" b="1"/>
            </a:lvl5pPr>
            <a:lvl6pPr marL="2406750" indent="0">
              <a:buNone/>
              <a:defRPr sz="1700" b="1"/>
            </a:lvl6pPr>
            <a:lvl7pPr marL="2888094" indent="0">
              <a:buNone/>
              <a:defRPr sz="1700" b="1"/>
            </a:lvl7pPr>
            <a:lvl8pPr marL="3369450" indent="0">
              <a:buNone/>
              <a:defRPr sz="1700" b="1"/>
            </a:lvl8pPr>
            <a:lvl9pPr marL="385079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7288" y="2319894"/>
            <a:ext cx="4243864" cy="241951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43929397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62817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4973" y="1"/>
            <a:ext cx="1604778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50906519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3400438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99" y="291265"/>
            <a:ext cx="3158729" cy="123952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3802" y="291267"/>
            <a:ext cx="5367338" cy="3144580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0099" y="1530788"/>
            <a:ext cx="3158729" cy="328425"/>
          </a:xfrm>
        </p:spPr>
        <p:txBody>
          <a:bodyPr/>
          <a:lstStyle>
            <a:lvl1pPr marL="0" indent="0">
              <a:buNone/>
              <a:defRPr sz="1500"/>
            </a:lvl1pPr>
            <a:lvl2pPr marL="481349" indent="0">
              <a:buNone/>
              <a:defRPr sz="1300"/>
            </a:lvl2pPr>
            <a:lvl3pPr marL="962698" indent="0">
              <a:buNone/>
              <a:defRPr sz="1100"/>
            </a:lvl3pPr>
            <a:lvl4pPr marL="1444046" indent="0">
              <a:buNone/>
              <a:defRPr sz="1000"/>
            </a:lvl4pPr>
            <a:lvl5pPr marL="1925400" indent="0">
              <a:buNone/>
              <a:defRPr sz="1000"/>
            </a:lvl5pPr>
            <a:lvl6pPr marL="2406750" indent="0">
              <a:buNone/>
              <a:defRPr sz="1000"/>
            </a:lvl6pPr>
            <a:lvl7pPr marL="2888094" indent="0">
              <a:buNone/>
              <a:defRPr sz="1000"/>
            </a:lvl7pPr>
            <a:lvl8pPr marL="3369450" indent="0">
              <a:buNone/>
              <a:defRPr sz="1000"/>
            </a:lvl8pPr>
            <a:lvl9pPr marL="385079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09041616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902" y="5120660"/>
            <a:ext cx="5760720" cy="60452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902" y="653627"/>
            <a:ext cx="5760720" cy="620812"/>
          </a:xfrm>
        </p:spPr>
        <p:txBody>
          <a:bodyPr/>
          <a:lstStyle>
            <a:lvl1pPr marL="0" indent="0">
              <a:buNone/>
              <a:defRPr sz="3400"/>
            </a:lvl1pPr>
            <a:lvl2pPr marL="481349" indent="0">
              <a:buNone/>
              <a:defRPr sz="3000"/>
            </a:lvl2pPr>
            <a:lvl3pPr marL="962698" indent="0">
              <a:buNone/>
              <a:defRPr sz="2500"/>
            </a:lvl3pPr>
            <a:lvl4pPr marL="1444046" indent="0">
              <a:buNone/>
              <a:defRPr sz="2100"/>
            </a:lvl4pPr>
            <a:lvl5pPr marL="1925400" indent="0">
              <a:buNone/>
              <a:defRPr sz="2100"/>
            </a:lvl5pPr>
            <a:lvl6pPr marL="2406750" indent="0">
              <a:buNone/>
              <a:defRPr sz="2100"/>
            </a:lvl6pPr>
            <a:lvl7pPr marL="2888094" indent="0">
              <a:buNone/>
              <a:defRPr sz="2100"/>
            </a:lvl7pPr>
            <a:lvl8pPr marL="3369450" indent="0">
              <a:buNone/>
              <a:defRPr sz="2100"/>
            </a:lvl8pPr>
            <a:lvl9pPr marL="3850796" indent="0">
              <a:buNone/>
              <a:defRPr sz="21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902" y="5725172"/>
            <a:ext cx="5760720" cy="328425"/>
          </a:xfrm>
        </p:spPr>
        <p:txBody>
          <a:bodyPr/>
          <a:lstStyle>
            <a:lvl1pPr marL="0" indent="0">
              <a:buNone/>
              <a:defRPr sz="1500"/>
            </a:lvl1pPr>
            <a:lvl2pPr marL="481349" indent="0">
              <a:buNone/>
              <a:defRPr sz="1300"/>
            </a:lvl2pPr>
            <a:lvl3pPr marL="962698" indent="0">
              <a:buNone/>
              <a:defRPr sz="1100"/>
            </a:lvl3pPr>
            <a:lvl4pPr marL="1444046" indent="0">
              <a:buNone/>
              <a:defRPr sz="1000"/>
            </a:lvl4pPr>
            <a:lvl5pPr marL="1925400" indent="0">
              <a:buNone/>
              <a:defRPr sz="1000"/>
            </a:lvl5pPr>
            <a:lvl6pPr marL="2406750" indent="0">
              <a:buNone/>
              <a:defRPr sz="1000"/>
            </a:lvl6pPr>
            <a:lvl7pPr marL="2888094" indent="0">
              <a:buNone/>
              <a:defRPr sz="1000"/>
            </a:lvl7pPr>
            <a:lvl8pPr marL="3369450" indent="0">
              <a:buNone/>
              <a:defRPr sz="1000"/>
            </a:lvl8pPr>
            <a:lvl9pPr marL="385079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88241620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52" y="162574"/>
            <a:ext cx="8961120" cy="677333"/>
          </a:xfrm>
        </p:spPr>
        <p:txBody>
          <a:bodyPr/>
          <a:lstStyle>
            <a:lvl1pPr>
              <a:tabLst>
                <a:tab pos="8002437" algn="l"/>
              </a:tabLst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3114" y="1549411"/>
            <a:ext cx="5148058" cy="154260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20306481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0892" y="-216747"/>
            <a:ext cx="2240280" cy="329184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41482" y="-216747"/>
            <a:ext cx="1639405" cy="329184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686359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102" y="2272493"/>
            <a:ext cx="8161020" cy="156802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180" y="4145280"/>
            <a:ext cx="6720840" cy="359202"/>
          </a:xfrm>
        </p:spPr>
        <p:txBody>
          <a:bodyPr/>
          <a:lstStyle>
            <a:lvl1pPr marL="0" indent="0" algn="ctr">
              <a:buNone/>
              <a:defRPr/>
            </a:lvl1pPr>
            <a:lvl2pPr marL="481349" indent="0" algn="ctr">
              <a:buNone/>
              <a:defRPr/>
            </a:lvl2pPr>
            <a:lvl3pPr marL="962698" indent="0" algn="ctr">
              <a:buNone/>
              <a:defRPr/>
            </a:lvl3pPr>
            <a:lvl4pPr marL="1444046" indent="0" algn="ctr">
              <a:buNone/>
              <a:defRPr/>
            </a:lvl4pPr>
            <a:lvl5pPr marL="1925400" indent="0" algn="ctr">
              <a:buNone/>
              <a:defRPr/>
            </a:lvl5pPr>
            <a:lvl6pPr marL="2406750" indent="0" algn="ctr">
              <a:buNone/>
              <a:defRPr/>
            </a:lvl6pPr>
            <a:lvl7pPr marL="2888094" indent="0" algn="ctr">
              <a:buNone/>
              <a:defRPr/>
            </a:lvl7pPr>
            <a:lvl8pPr marL="3369450" indent="0" algn="ctr">
              <a:buNone/>
              <a:defRPr/>
            </a:lvl8pPr>
            <a:lvl9pPr marL="385079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5315956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101" y="20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14350" y="1549409"/>
            <a:ext cx="8686800" cy="361103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573554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3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7"/>
            <a:ext cx="4267200" cy="2538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7"/>
            <a:ext cx="4267200" cy="2538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40"/>
            <a:ext cx="4267200" cy="2538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16699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39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26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4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7" y="6827838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0864485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303969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1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437277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290243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6790796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7873489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796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465796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070846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1425636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450646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74126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5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5579465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384" y="1263651"/>
            <a:ext cx="4651766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72168474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4973" y="1"/>
            <a:ext cx="1604778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56190325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1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769704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2949171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1673948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3651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53971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3651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90959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725" y="2271713"/>
            <a:ext cx="8159750" cy="1568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9864" y="4144964"/>
            <a:ext cx="6721475" cy="1870075"/>
          </a:xfrm>
        </p:spPr>
        <p:txBody>
          <a:bodyPr/>
          <a:lstStyle>
            <a:lvl1pPr marL="0" indent="0" algn="ctr">
              <a:buNone/>
              <a:defRPr/>
            </a:lvl1pPr>
            <a:lvl2pPr marL="457159" indent="0" algn="ctr">
              <a:buNone/>
              <a:defRPr/>
            </a:lvl2pPr>
            <a:lvl3pPr marL="914319" indent="0" algn="ctr">
              <a:buNone/>
              <a:defRPr/>
            </a:lvl3pPr>
            <a:lvl4pPr marL="1371477" indent="0" algn="ctr">
              <a:buNone/>
              <a:defRPr/>
            </a:lvl4pPr>
            <a:lvl5pPr marL="1828637" indent="0" algn="ctr">
              <a:buNone/>
              <a:defRPr/>
            </a:lvl5pPr>
            <a:lvl6pPr marL="2285796" indent="0" algn="ctr">
              <a:buNone/>
              <a:defRPr/>
            </a:lvl6pPr>
            <a:lvl7pPr marL="2742956" indent="0" algn="ctr">
              <a:buNone/>
              <a:defRPr/>
            </a:lvl7pPr>
            <a:lvl8pPr marL="3200114" indent="0" algn="ctr">
              <a:buNone/>
              <a:defRPr/>
            </a:lvl8pPr>
            <a:lvl9pPr marL="365727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9995237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6580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3100387"/>
            <a:ext cx="8161338" cy="1600201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7585760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2039" y="3267076"/>
            <a:ext cx="3756025" cy="151606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0463" y="3267076"/>
            <a:ext cx="3757612" cy="151606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080872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636714"/>
            <a:ext cx="4243388" cy="68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42148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636714"/>
            <a:ext cx="4244975" cy="68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42148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060260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50630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0900454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83316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624363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5003801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339915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438943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6"/>
            <a:ext cx="5761037" cy="858838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505247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108161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11964" y="2554289"/>
            <a:ext cx="1916112" cy="2228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2038" y="2554289"/>
            <a:ext cx="5597525" cy="2228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5402295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0114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39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26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4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7" y="6827838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904547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3893429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290243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42505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290243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34356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06596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796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465796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1410761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745682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4837510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980043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5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62241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384" y="1263651"/>
            <a:ext cx="4651766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80095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4973" y="1"/>
            <a:ext cx="1604778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703319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1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1944692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73920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8812391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3651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837176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63644"/>
            <a:ext cx="9601200" cy="615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 descr="Fid_Turn_Here_Blk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3150" y="6054770"/>
            <a:ext cx="2217738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626626" y="6535757"/>
            <a:ext cx="1297907" cy="245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21" tIns="45510" rIns="91021" bIns="45510">
            <a:spAutoFit/>
          </a:bodyPr>
          <a:lstStyle/>
          <a:p>
            <a:pPr algn="ctr">
              <a:defRPr/>
            </a:pPr>
            <a:r>
              <a:rPr lang="en-US" sz="1000" dirty="0">
                <a:solidFill>
                  <a:srgbClr val="7F7F7F"/>
                </a:solidFill>
              </a:rPr>
              <a:t>Fidelity Confidential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2" y="1439869"/>
            <a:ext cx="8509001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72"/>
            <a:ext cx="8578850" cy="672946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60" y="4810174"/>
            <a:ext cx="3452523" cy="374599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29"/>
            <a:ext cx="2255734" cy="251488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81721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4745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0" y="708027"/>
            <a:ext cx="9601200" cy="673100"/>
            <a:chOff x="0" y="418"/>
            <a:chExt cx="5760" cy="397"/>
          </a:xfrm>
        </p:grpSpPr>
        <p:pic>
          <p:nvPicPr>
            <p:cNvPr id="4" name="Picture 3" descr="Txt_DropShadow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1399" tIns="45699" rIns="91399" bIns="45699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6" name="Picture 5" descr="90708_Gri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 descr="New_Greendisc copy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2250" y="979488"/>
            <a:ext cx="600075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Fid_Logo_Grey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16"/>
          <p:cNvSpPr>
            <a:spLocks noChangeShapeType="1"/>
          </p:cNvSpPr>
          <p:nvPr/>
        </p:nvSpPr>
        <p:spPr bwMode="auto">
          <a:xfrm flipV="1">
            <a:off x="382589" y="6981870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0" name="Rectangle 17"/>
          <p:cNvSpPr>
            <a:spLocks noChangeArrowheads="1"/>
          </p:cNvSpPr>
          <p:nvPr/>
        </p:nvSpPr>
        <p:spPr bwMode="auto">
          <a:xfrm>
            <a:off x="73034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211" tIns="48110" rIns="96211" bIns="48110" anchor="b"/>
          <a:lstStyle/>
          <a:p>
            <a:pPr defTabSz="962827">
              <a:spcAft>
                <a:spcPct val="30000"/>
              </a:spcAft>
              <a:defRPr/>
            </a:pPr>
            <a:fld id="{291D2FC7-3053-45ED-AEB5-F456C3FA6776}" type="slidenum">
              <a:rPr lang="en-US" sz="1000">
                <a:solidFill>
                  <a:srgbClr val="BFBFBF"/>
                </a:solidFill>
              </a:rPr>
              <a:pPr defTabSz="962827">
                <a:spcAft>
                  <a:spcPct val="30000"/>
                </a:spcAft>
                <a:defRPr/>
              </a:pPr>
              <a:t>‹#›</a:t>
            </a:fld>
            <a:endParaRPr lang="en-US" sz="1000" dirty="0">
              <a:solidFill>
                <a:srgbClr val="BFBFBF"/>
              </a:solidFill>
            </a:endParaRPr>
          </a:p>
        </p:txBody>
      </p:sp>
      <p:sp>
        <p:nvSpPr>
          <p:cNvPr id="11" name="Text Placeholder 10"/>
          <p:cNvSpPr txBox="1">
            <a:spLocks/>
          </p:cNvSpPr>
          <p:nvPr/>
        </p:nvSpPr>
        <p:spPr bwMode="auto">
          <a:xfrm>
            <a:off x="379457" y="7007225"/>
            <a:ext cx="1343025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021" tIns="45510" rIns="91021" bIns="45510"/>
          <a:lstStyle/>
          <a:p>
            <a:pPr marL="281419" indent="-281419" defTabSz="962827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sz="1000" dirty="0">
                <a:solidFill>
                  <a:srgbClr val="7F7F7F"/>
                </a:solidFill>
              </a:rPr>
              <a:t>Fidelit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 bwMode="auto">
          <a:xfrm>
            <a:off x="320675" y="6827883"/>
            <a:ext cx="5840413" cy="32543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6217" tIns="48111" rIns="96217" bIns="48111" numCol="1" anchor="t" anchorCtr="0" compatLnSpc="1">
            <a:prstTxWarp prst="textNoShape">
              <a:avLst/>
            </a:prstTxWarp>
          </a:bodyPr>
          <a:lstStyle>
            <a:lvl1pPr>
              <a:defRPr dirty="0">
                <a:latin typeface="Arial" pitchFamily="34" charset="0"/>
              </a:defRPr>
            </a:lvl1pPr>
          </a:lstStyle>
          <a:p>
            <a:pPr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1"/>
          </p:nvPr>
        </p:nvSpPr>
        <p:spPr bwMode="auto">
          <a:xfrm>
            <a:off x="7280275" y="6827883"/>
            <a:ext cx="2000250" cy="32543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6217" tIns="48111" rIns="96217" bIns="48111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A804EC9C-4645-4D28-AE94-11FED3FB02C7}" type="slidenum">
              <a:rPr lang="en-US" sz="14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210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4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549424"/>
            <a:ext cx="8686800" cy="20771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62985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4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549401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549401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2652713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44478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4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549401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549401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2652713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9804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0" y="708027"/>
            <a:ext cx="9601200" cy="673100"/>
            <a:chOff x="0" y="418"/>
            <a:chExt cx="5760" cy="397"/>
          </a:xfrm>
        </p:grpSpPr>
        <p:pic>
          <p:nvPicPr>
            <p:cNvPr id="6" name="Picture 3" descr="Txt_DropShadow"/>
            <p:cNvPicPr>
              <a:picLocks noChangeAspect="1" noChangeArrowheads="1"/>
            </p:cNvPicPr>
            <p:nvPr userDrawn="1"/>
          </p:nvPicPr>
          <p:blipFill>
            <a:blip r:embed="rId2" cstate="email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8" name="Picture 5" descr="90708_Grid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0" descr="New_Greendisc copy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22250" y="977945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4" descr="Fid_Logo_Grey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Line 16"/>
          <p:cNvSpPr>
            <a:spLocks noChangeShapeType="1"/>
          </p:cNvSpPr>
          <p:nvPr/>
        </p:nvSpPr>
        <p:spPr bwMode="auto">
          <a:xfrm flipV="1">
            <a:off x="382589" y="6981870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73034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288" tIns="48148" rIns="96288" bIns="48148" anchor="b"/>
          <a:lstStyle/>
          <a:p>
            <a:pPr defTabSz="963171">
              <a:spcAft>
                <a:spcPct val="30000"/>
              </a:spcAft>
              <a:defRPr/>
            </a:pPr>
            <a:fld id="{B30A083B-EDD9-4CE9-A321-26F41E26CF0E}" type="slidenum">
              <a:rPr lang="en-US" sz="1000">
                <a:solidFill>
                  <a:srgbClr val="BFBFBF"/>
                </a:solidFill>
                <a:latin typeface="Arial" pitchFamily="34" charset="0"/>
              </a:rPr>
              <a:pPr defTabSz="963171">
                <a:spcAft>
                  <a:spcPct val="30000"/>
                </a:spcAft>
                <a:defRPr/>
              </a:pPr>
              <a:t>‹#›</a:t>
            </a:fld>
            <a:endParaRPr lang="en-US" sz="10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379457" y="7007225"/>
            <a:ext cx="1343025" cy="234950"/>
          </a:xfrm>
          <a:prstGeom prst="rect">
            <a:avLst/>
          </a:prstGeom>
        </p:spPr>
        <p:txBody>
          <a:bodyPr lIns="91095" tIns="45547" rIns="91095" bIns="45547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1519" indent="-281519" defTabSz="963171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0"/>
            <a:ext cx="8961120" cy="105664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4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163638"/>
            <a:ext cx="9601200" cy="615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9"/>
          <p:cNvSpPr/>
          <p:nvPr/>
        </p:nvSpPr>
        <p:spPr>
          <a:xfrm>
            <a:off x="679450" y="6535738"/>
            <a:ext cx="1192213" cy="2301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</a:rPr>
              <a:t>Fidelity Confidential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Picture 13" descr="Fidelity_TurnHere_BW_tran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99175" y="6054725"/>
            <a:ext cx="2286000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3" y="1439863"/>
            <a:ext cx="8509000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3"/>
            <a:ext cx="8578850" cy="922337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12" y="4810125"/>
            <a:ext cx="3452523" cy="374599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29"/>
            <a:ext cx="2255734" cy="251488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1509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2059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796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465796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635768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5"/>
            <a:ext cx="9601200" cy="673100"/>
            <a:chOff x="0" y="418"/>
            <a:chExt cx="5760" cy="397"/>
          </a:xfrm>
        </p:grpSpPr>
        <p:pic>
          <p:nvPicPr>
            <p:cNvPr id="3" name="Picture 3" descr="Txt_DropShadow"/>
            <p:cNvPicPr>
              <a:picLocks noChangeAspect="1" noChangeArrowheads="1"/>
            </p:cNvPicPr>
            <p:nvPr userDrawn="1"/>
          </p:nvPicPr>
          <p:blipFill>
            <a:blip r:embed="rId2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5" name="Picture 5" descr="90708_Grid"/>
          <p:cNvPicPr>
            <a:picLocks noChangeAspect="1" noChangeArrowheads="1"/>
          </p:cNvPicPr>
          <p:nvPr/>
        </p:nvPicPr>
        <p:blipFill>
          <a:blip r:embed="rId3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0" descr="New_Greendisc copy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22250" y="977900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Fid_Logo_Grey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16"/>
          <p:cNvSpPr>
            <a:spLocks noChangeShapeType="1"/>
          </p:cNvSpPr>
          <p:nvPr/>
        </p:nvSpPr>
        <p:spPr bwMode="auto">
          <a:xfrm flipV="1">
            <a:off x="382588" y="6981825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auto">
          <a:xfrm>
            <a:off x="73025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55" tIns="48328" rIns="96655" bIns="48328" anchor="b"/>
          <a:lstStyle/>
          <a:p>
            <a:pPr defTabSz="966788">
              <a:spcAft>
                <a:spcPct val="30000"/>
              </a:spcAft>
              <a:defRPr/>
            </a:pPr>
            <a:fld id="{02688FA0-F95F-42AD-BC10-DDAE054FC5DF}" type="slidenum">
              <a:rPr lang="en-US" sz="900">
                <a:solidFill>
                  <a:srgbClr val="BFBFBF"/>
                </a:solidFill>
                <a:latin typeface="Arial" pitchFamily="34" charset="0"/>
              </a:rPr>
              <a:pPr defTabSz="966788">
                <a:spcAft>
                  <a:spcPct val="30000"/>
                </a:spcAft>
                <a:defRPr/>
              </a:pPr>
              <a:t>‹#›</a:t>
            </a:fld>
            <a:endParaRPr lang="en-US" sz="9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0" name="Text Placeholder 10"/>
          <p:cNvSpPr txBox="1">
            <a:spLocks/>
          </p:cNvSpPr>
          <p:nvPr/>
        </p:nvSpPr>
        <p:spPr>
          <a:xfrm>
            <a:off x="379413" y="7007225"/>
            <a:ext cx="1343025" cy="234950"/>
          </a:xfrm>
          <a:prstGeom prst="rect">
            <a:avLst/>
          </a:prstGeom>
        </p:spPr>
        <p:txBody>
          <a:bodyPr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575" indent="-282575" defTabSz="966788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1" name="Footer Placeholder 10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8" y="6864350"/>
            <a:ext cx="5840412" cy="3254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z="1400" dirty="0">
                <a:solidFill>
                  <a:srgbClr val="000000"/>
                </a:solidFill>
              </a:rPr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27582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8" y="0"/>
            <a:ext cx="8963025" cy="10556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549400"/>
            <a:ext cx="8686800" cy="2078038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30028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50951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163638"/>
            <a:ext cx="9601200" cy="615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9"/>
          <p:cNvSpPr/>
          <p:nvPr/>
        </p:nvSpPr>
        <p:spPr>
          <a:xfrm>
            <a:off x="680719" y="6535797"/>
            <a:ext cx="1189815" cy="230065"/>
          </a:xfrm>
          <a:prstGeom prst="rect">
            <a:avLst/>
          </a:prstGeom>
        </p:spPr>
        <p:txBody>
          <a:bodyPr wrap="none" lIns="90679" tIns="45340" rIns="90679" bIns="4534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</a:rPr>
              <a:t>Fidelity Confidential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Picture 13" descr="Fidelity_TurnHere_BW_tran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99176" y="6054845"/>
            <a:ext cx="2286000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3" y="1439863"/>
            <a:ext cx="8509000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21" y="2074864"/>
            <a:ext cx="8578850" cy="661680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832" y="4810245"/>
            <a:ext cx="3452523" cy="374599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34"/>
            <a:ext cx="2255734" cy="256139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57496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928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8" y="4"/>
            <a:ext cx="8963025" cy="10556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2" y="1549409"/>
            <a:ext cx="8686800" cy="466926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864711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641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39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26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4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7" y="6827838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1161592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354310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290243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00534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1390139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5170202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796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465796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208906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197015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475616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242946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5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2976042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384" y="1263651"/>
            <a:ext cx="4651766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2550629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4973" y="1"/>
            <a:ext cx="1604778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981041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1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4255205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7413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74690836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3651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1643666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44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626535" y="6535767"/>
            <a:ext cx="1298089" cy="24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111" tIns="45556" rIns="91111" bIns="45556">
            <a:spAutoFit/>
          </a:bodyPr>
          <a:lstStyle/>
          <a:p>
            <a:pPr algn="ctr">
              <a:defRPr/>
            </a:pPr>
            <a:r>
              <a:rPr lang="en-US" sz="1000" dirty="0">
                <a:solidFill>
                  <a:srgbClr val="7F7F7F"/>
                </a:solidFill>
              </a:rPr>
              <a:t>Fidelity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" name="Picture 13" descr="Fidelity_TurnHere_BW_trans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9187" y="6054767"/>
            <a:ext cx="2286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2" y="1439869"/>
            <a:ext cx="8509001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662897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54" y="4810167"/>
            <a:ext cx="3452523" cy="374599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72"/>
            <a:ext cx="2255734" cy="241477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021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44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31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9"/>
            <a:ext cx="8509001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72"/>
            <a:ext cx="8578850" cy="646482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600"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369887" y="6827838"/>
            <a:ext cx="5842001" cy="3238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6664" tIns="43333" rIns="86664" bIns="43333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spcAft>
                <a:spcPct val="30000"/>
              </a:spcAft>
              <a:defRPr sz="1000">
                <a:solidFill>
                  <a:srgbClr val="808080"/>
                </a:solidFill>
                <a:latin typeface="Arial" charset="0"/>
                <a:ea typeface="ＭＳ Ｐゴシック" pitchFamily="28" charset="-128"/>
              </a:defRPr>
            </a:lvl1pPr>
          </a:lstStyle>
          <a:p>
            <a:pPr>
              <a:defRPr/>
            </a:pPr>
            <a:r>
              <a:rPr lang="en-US" alt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444904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0702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300338"/>
            <a:ext cx="8161338" cy="400261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52" indent="0">
              <a:buNone/>
              <a:defRPr sz="1800"/>
            </a:lvl2pPr>
            <a:lvl3pPr marL="913505" indent="0">
              <a:buNone/>
              <a:defRPr sz="1600"/>
            </a:lvl3pPr>
            <a:lvl4pPr marL="1370255" indent="0">
              <a:buNone/>
              <a:defRPr sz="1400"/>
            </a:lvl4pPr>
            <a:lvl5pPr marL="1827009" indent="0">
              <a:buNone/>
              <a:defRPr sz="1400"/>
            </a:lvl5pPr>
            <a:lvl6pPr marL="2283761" indent="0">
              <a:buNone/>
              <a:defRPr sz="1400"/>
            </a:lvl6pPr>
            <a:lvl7pPr marL="2740512" indent="0">
              <a:buNone/>
              <a:defRPr sz="1400"/>
            </a:lvl7pPr>
            <a:lvl8pPr marL="3197264" indent="0">
              <a:buNone/>
              <a:defRPr sz="1400"/>
            </a:lvl8pPr>
            <a:lvl9pPr marL="365401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367822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549400"/>
            <a:ext cx="4267200" cy="260804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549400"/>
            <a:ext cx="4267200" cy="260804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53610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3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75891"/>
            <a:ext cx="4243388" cy="84345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2" indent="0">
              <a:buNone/>
              <a:defRPr sz="2000" b="1"/>
            </a:lvl2pPr>
            <a:lvl3pPr marL="913505" indent="0">
              <a:buNone/>
              <a:defRPr sz="1800" b="1"/>
            </a:lvl3pPr>
            <a:lvl4pPr marL="1370255" indent="0">
              <a:buNone/>
              <a:defRPr sz="1600" b="1"/>
            </a:lvl4pPr>
            <a:lvl5pPr marL="1827009" indent="0">
              <a:buNone/>
              <a:defRPr sz="1600" b="1"/>
            </a:lvl5pPr>
            <a:lvl6pPr marL="2283761" indent="0">
              <a:buNone/>
              <a:defRPr sz="1600" b="1"/>
            </a:lvl6pPr>
            <a:lvl7pPr marL="2740512" indent="0">
              <a:buNone/>
              <a:defRPr sz="1600" b="1"/>
            </a:lvl7pPr>
            <a:lvl8pPr marL="3197264" indent="0">
              <a:buNone/>
              <a:defRPr sz="1600" b="1"/>
            </a:lvl8pPr>
            <a:lvl9pPr marL="365401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8"/>
            <a:ext cx="4243388" cy="22912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11" y="1475891"/>
            <a:ext cx="4244975" cy="84345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2" indent="0">
              <a:buNone/>
              <a:defRPr sz="2000" b="1"/>
            </a:lvl2pPr>
            <a:lvl3pPr marL="913505" indent="0">
              <a:buNone/>
              <a:defRPr sz="1800" b="1"/>
            </a:lvl3pPr>
            <a:lvl4pPr marL="1370255" indent="0">
              <a:buNone/>
              <a:defRPr sz="1600" b="1"/>
            </a:lvl4pPr>
            <a:lvl5pPr marL="1827009" indent="0">
              <a:buNone/>
              <a:defRPr sz="1600" b="1"/>
            </a:lvl5pPr>
            <a:lvl6pPr marL="2283761" indent="0">
              <a:buNone/>
              <a:defRPr sz="1600" b="1"/>
            </a:lvl6pPr>
            <a:lvl7pPr marL="2740512" indent="0">
              <a:buNone/>
              <a:defRPr sz="1600" b="1"/>
            </a:lvl7pPr>
            <a:lvl8pPr marL="3197264" indent="0">
              <a:buNone/>
              <a:defRPr sz="1600" b="1"/>
            </a:lvl8pPr>
            <a:lvl9pPr marL="365401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11" y="2319338"/>
            <a:ext cx="4244975" cy="22912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9278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5516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49734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35" y="29052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25"/>
            <a:ext cx="5367338" cy="298394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35" y="1530354"/>
            <a:ext cx="3159125" cy="301773"/>
          </a:xfrm>
        </p:spPr>
        <p:txBody>
          <a:bodyPr/>
          <a:lstStyle>
            <a:lvl1pPr marL="0" indent="0">
              <a:buNone/>
              <a:defRPr sz="1400"/>
            </a:lvl1pPr>
            <a:lvl2pPr marL="456752" indent="0">
              <a:buNone/>
              <a:defRPr sz="1200"/>
            </a:lvl2pPr>
            <a:lvl3pPr marL="913505" indent="0">
              <a:buNone/>
              <a:defRPr sz="1000"/>
            </a:lvl3pPr>
            <a:lvl4pPr marL="1370255" indent="0">
              <a:buNone/>
              <a:defRPr sz="1000"/>
            </a:lvl4pPr>
            <a:lvl5pPr marL="1827009" indent="0">
              <a:buNone/>
              <a:defRPr sz="1000"/>
            </a:lvl5pPr>
            <a:lvl6pPr marL="2283761" indent="0">
              <a:buNone/>
              <a:defRPr sz="1000"/>
            </a:lvl6pPr>
            <a:lvl7pPr marL="2740512" indent="0">
              <a:buNone/>
              <a:defRPr sz="1000"/>
            </a:lvl7pPr>
            <a:lvl8pPr marL="3197264" indent="0">
              <a:buNone/>
              <a:defRPr sz="1000"/>
            </a:lvl8pPr>
            <a:lvl9pPr marL="365401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1175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788187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80823"/>
          </a:xfrm>
        </p:spPr>
        <p:txBody>
          <a:bodyPr/>
          <a:lstStyle>
            <a:lvl1pPr marL="0" indent="0">
              <a:buNone/>
              <a:defRPr sz="3200"/>
            </a:lvl1pPr>
            <a:lvl2pPr marL="456752" indent="0">
              <a:buNone/>
              <a:defRPr sz="2700"/>
            </a:lvl2pPr>
            <a:lvl3pPr marL="913505" indent="0">
              <a:buNone/>
              <a:defRPr sz="2400"/>
            </a:lvl3pPr>
            <a:lvl4pPr marL="1370255" indent="0">
              <a:buNone/>
              <a:defRPr sz="2000"/>
            </a:lvl4pPr>
            <a:lvl5pPr marL="1827009" indent="0">
              <a:buNone/>
              <a:defRPr sz="2000"/>
            </a:lvl5pPr>
            <a:lvl6pPr marL="2283761" indent="0">
              <a:buNone/>
              <a:defRPr sz="2000"/>
            </a:lvl6pPr>
            <a:lvl7pPr marL="2740512" indent="0">
              <a:buNone/>
              <a:defRPr sz="2000"/>
            </a:lvl7pPr>
            <a:lvl8pPr marL="3197264" indent="0">
              <a:buNone/>
              <a:defRPr sz="2000"/>
            </a:lvl8pPr>
            <a:lvl9pPr marL="3654016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30"/>
            <a:ext cx="5761037" cy="301773"/>
          </a:xfrm>
        </p:spPr>
        <p:txBody>
          <a:bodyPr/>
          <a:lstStyle>
            <a:lvl1pPr marL="0" indent="0">
              <a:buNone/>
              <a:defRPr sz="1400"/>
            </a:lvl1pPr>
            <a:lvl2pPr marL="456752" indent="0">
              <a:buNone/>
              <a:defRPr sz="1200"/>
            </a:lvl2pPr>
            <a:lvl3pPr marL="913505" indent="0">
              <a:buNone/>
              <a:defRPr sz="1000"/>
            </a:lvl3pPr>
            <a:lvl4pPr marL="1370255" indent="0">
              <a:buNone/>
              <a:defRPr sz="1000"/>
            </a:lvl4pPr>
            <a:lvl5pPr marL="1827009" indent="0">
              <a:buNone/>
              <a:defRPr sz="1000"/>
            </a:lvl5pPr>
            <a:lvl6pPr marL="2283761" indent="0">
              <a:buNone/>
              <a:defRPr sz="1000"/>
            </a:lvl6pPr>
            <a:lvl7pPr marL="2740512" indent="0">
              <a:buNone/>
              <a:defRPr sz="1000"/>
            </a:lvl7pPr>
            <a:lvl8pPr marL="3197264" indent="0">
              <a:buNone/>
              <a:defRPr sz="1000"/>
            </a:lvl8pPr>
            <a:lvl9pPr marL="365401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483386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17045" y="1549407"/>
            <a:ext cx="5284112" cy="20269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06216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2"/>
            <a:ext cx="2239963" cy="34956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98745" y="12"/>
            <a:ext cx="2391012" cy="34956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1337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4"/>
            <a:ext cx="8963025" cy="105568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549407"/>
            <a:ext cx="4267200" cy="2026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549407"/>
            <a:ext cx="4267200" cy="2026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67903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290" name="Picture 2" descr="90708_cvr_03_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63638"/>
            <a:ext cx="9601200" cy="6151562"/>
          </a:xfrm>
          <a:prstGeom prst="rect">
            <a:avLst/>
          </a:prstGeom>
          <a:noFill/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3" y="1439869"/>
            <a:ext cx="8509000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677698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140293" name="Picture 5" descr="Fid_Turn_Here_Blk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3150" y="6054731"/>
            <a:ext cx="2217738" cy="790575"/>
          </a:xfrm>
          <a:prstGeom prst="rect">
            <a:avLst/>
          </a:prstGeom>
          <a:noFill/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18" y="4810126"/>
            <a:ext cx="3452523" cy="381924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34"/>
            <a:ext cx="2255734" cy="258685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79677" y="6535671"/>
            <a:ext cx="1191353" cy="230832"/>
          </a:xfrm>
          <a:prstGeom prst="rect">
            <a:avLst/>
          </a:prstGeom>
        </p:spPr>
        <p:txBody>
          <a:bodyPr wrap="none" lIns="91361" tIns="45680" rIns="91361" bIns="45680">
            <a:spAutoFit/>
          </a:bodyPr>
          <a:lstStyle/>
          <a:p>
            <a:pPr algn="ctr"/>
            <a:r>
              <a:rPr lang="en-US" sz="900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437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179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163651"/>
            <a:ext cx="9601200" cy="615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9"/>
          <p:cNvSpPr/>
          <p:nvPr/>
        </p:nvSpPr>
        <p:spPr>
          <a:xfrm>
            <a:off x="626572" y="6535767"/>
            <a:ext cx="1298037" cy="245866"/>
          </a:xfrm>
          <a:prstGeom prst="rect">
            <a:avLst/>
          </a:prstGeom>
        </p:spPr>
        <p:txBody>
          <a:bodyPr wrap="none" lIns="91085" tIns="45544" rIns="91085" bIns="45544">
            <a:spAutoFit/>
          </a:bodyPr>
          <a:lstStyle/>
          <a:p>
            <a:pPr algn="ctr">
              <a:defRPr/>
            </a:pPr>
            <a:r>
              <a:rPr lang="en-US" sz="1000" dirty="0">
                <a:solidFill>
                  <a:srgbClr val="7F7F7F"/>
                </a:solidFill>
                <a:latin typeface="Arial" pitchFamily="34" charset="0"/>
              </a:rPr>
              <a:t>Fidelity Confidential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Picture 13" descr="Fidelity_TurnHere_BW_tran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99187" y="6054791"/>
            <a:ext cx="2286000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2" y="1439877"/>
            <a:ext cx="8509001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82"/>
            <a:ext cx="8578850" cy="666613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41" y="4810137"/>
            <a:ext cx="3452523" cy="374225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5" y="380639"/>
            <a:ext cx="2255734" cy="251115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9307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4072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9" y="12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549451"/>
            <a:ext cx="8686800" cy="466558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562483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822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5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4123025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40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2" y="6054730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5" y="1439865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6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8" y="6827841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8563489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5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43066572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8" y="4700591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8" y="4290247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23" indent="0">
              <a:buNone/>
              <a:defRPr sz="1800"/>
            </a:lvl2pPr>
            <a:lvl3pPr marL="914045" indent="0">
              <a:buNone/>
              <a:defRPr sz="1600"/>
            </a:lvl3pPr>
            <a:lvl4pPr marL="1371067" indent="0">
              <a:buNone/>
              <a:defRPr sz="1400"/>
            </a:lvl4pPr>
            <a:lvl5pPr marL="1828090" indent="0">
              <a:buNone/>
              <a:defRPr sz="1400"/>
            </a:lvl5pPr>
            <a:lvl6pPr marL="2285111" indent="0">
              <a:buNone/>
              <a:defRPr sz="1400"/>
            </a:lvl6pPr>
            <a:lvl7pPr marL="2742134" indent="0">
              <a:buNone/>
              <a:defRPr sz="1400"/>
            </a:lvl7pPr>
            <a:lvl8pPr marL="3199157" indent="0">
              <a:buNone/>
              <a:defRPr sz="1400"/>
            </a:lvl8pPr>
            <a:lvl9pPr marL="3656177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5721482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3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3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911782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800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3" indent="0">
              <a:buNone/>
              <a:defRPr sz="2000" b="1"/>
            </a:lvl2pPr>
            <a:lvl3pPr marL="914045" indent="0">
              <a:buNone/>
              <a:defRPr sz="1800" b="1"/>
            </a:lvl3pPr>
            <a:lvl4pPr marL="1371067" indent="0">
              <a:buNone/>
              <a:defRPr sz="1600" b="1"/>
            </a:lvl4pPr>
            <a:lvl5pPr marL="1828090" indent="0">
              <a:buNone/>
              <a:defRPr sz="1600" b="1"/>
            </a:lvl5pPr>
            <a:lvl6pPr marL="2285111" indent="0">
              <a:buNone/>
              <a:defRPr sz="1600" b="1"/>
            </a:lvl6pPr>
            <a:lvl7pPr marL="2742134" indent="0">
              <a:buNone/>
              <a:defRPr sz="1600" b="1"/>
            </a:lvl7pPr>
            <a:lvl8pPr marL="3199157" indent="0">
              <a:buNone/>
              <a:defRPr sz="1600" b="1"/>
            </a:lvl8pPr>
            <a:lvl9pPr marL="365617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42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5" y="1465800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3" indent="0">
              <a:buNone/>
              <a:defRPr sz="2000" b="1"/>
            </a:lvl2pPr>
            <a:lvl3pPr marL="914045" indent="0">
              <a:buNone/>
              <a:defRPr sz="1800" b="1"/>
            </a:lvl3pPr>
            <a:lvl4pPr marL="1371067" indent="0">
              <a:buNone/>
              <a:defRPr sz="1600" b="1"/>
            </a:lvl4pPr>
            <a:lvl5pPr marL="1828090" indent="0">
              <a:buNone/>
              <a:defRPr sz="1600" b="1"/>
            </a:lvl5pPr>
            <a:lvl6pPr marL="2285111" indent="0">
              <a:buNone/>
              <a:defRPr sz="1600" b="1"/>
            </a:lvl6pPr>
            <a:lvl7pPr marL="2742134" indent="0">
              <a:buNone/>
              <a:defRPr sz="1600" b="1"/>
            </a:lvl7pPr>
            <a:lvl8pPr marL="3199157" indent="0">
              <a:buNone/>
              <a:defRPr sz="1600" b="1"/>
            </a:lvl8pPr>
            <a:lvl9pPr marL="365617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5" y="2319342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4041186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2322845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5637650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7" y="290519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4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7" y="1530354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023" indent="0">
              <a:buNone/>
              <a:defRPr sz="1200"/>
            </a:lvl2pPr>
            <a:lvl3pPr marL="914045" indent="0">
              <a:buNone/>
              <a:defRPr sz="1000"/>
            </a:lvl3pPr>
            <a:lvl4pPr marL="1371067" indent="0">
              <a:buNone/>
              <a:defRPr sz="1000"/>
            </a:lvl4pPr>
            <a:lvl5pPr marL="1828090" indent="0">
              <a:buNone/>
              <a:defRPr sz="1000"/>
            </a:lvl5pPr>
            <a:lvl6pPr marL="2285111" indent="0">
              <a:buNone/>
              <a:defRPr sz="1000"/>
            </a:lvl6pPr>
            <a:lvl7pPr marL="2742134" indent="0">
              <a:buNone/>
              <a:defRPr sz="1000"/>
            </a:lvl7pPr>
            <a:lvl8pPr marL="3199157" indent="0">
              <a:buNone/>
              <a:defRPr sz="1000"/>
            </a:lvl8pPr>
            <a:lvl9pPr marL="365617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09243670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9" y="5121278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9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023" indent="0">
              <a:buNone/>
              <a:defRPr sz="2700"/>
            </a:lvl2pPr>
            <a:lvl3pPr marL="914045" indent="0">
              <a:buNone/>
              <a:defRPr sz="2400"/>
            </a:lvl3pPr>
            <a:lvl4pPr marL="1371067" indent="0">
              <a:buNone/>
              <a:defRPr sz="2000"/>
            </a:lvl4pPr>
            <a:lvl5pPr marL="1828090" indent="0">
              <a:buNone/>
              <a:defRPr sz="2000"/>
            </a:lvl5pPr>
            <a:lvl6pPr marL="2285111" indent="0">
              <a:buNone/>
              <a:defRPr sz="2000"/>
            </a:lvl6pPr>
            <a:lvl7pPr marL="2742134" indent="0">
              <a:buNone/>
              <a:defRPr sz="2000"/>
            </a:lvl7pPr>
            <a:lvl8pPr marL="3199157" indent="0">
              <a:buNone/>
              <a:defRPr sz="2000"/>
            </a:lvl8pPr>
            <a:lvl9pPr marL="3656177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9" y="5724526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023" indent="0">
              <a:buNone/>
              <a:defRPr sz="1200"/>
            </a:lvl2pPr>
            <a:lvl3pPr marL="914045" indent="0">
              <a:buNone/>
              <a:defRPr sz="1000"/>
            </a:lvl3pPr>
            <a:lvl4pPr marL="1371067" indent="0">
              <a:buNone/>
              <a:defRPr sz="1000"/>
            </a:lvl4pPr>
            <a:lvl5pPr marL="1828090" indent="0">
              <a:buNone/>
              <a:defRPr sz="1000"/>
            </a:lvl5pPr>
            <a:lvl6pPr marL="2285111" indent="0">
              <a:buNone/>
              <a:defRPr sz="1000"/>
            </a:lvl6pPr>
            <a:lvl7pPr marL="2742134" indent="0">
              <a:buNone/>
              <a:defRPr sz="1000"/>
            </a:lvl7pPr>
            <a:lvl8pPr marL="3199157" indent="0">
              <a:buNone/>
              <a:defRPr sz="1000"/>
            </a:lvl8pPr>
            <a:lvl9pPr marL="365617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9814073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444" y="1263655"/>
            <a:ext cx="4651708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058779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1.jpe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7" Type="http://schemas.openxmlformats.org/officeDocument/2006/relationships/image" Target="../media/image4.wmf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9.png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88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.jpe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4.w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99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image" Target="../media/image16.jpeg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113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19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127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4.wmf"/><Relationship Id="rId4" Type="http://schemas.openxmlformats.org/officeDocument/2006/relationships/tags" Target="../tags/tag1.xml"/><Relationship Id="rId9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theme" Target="../theme/theme4.xml"/><Relationship Id="rId5" Type="http://schemas.openxmlformats.org/officeDocument/2006/relationships/image" Target="../media/image4.wmf"/><Relationship Id="rId4" Type="http://schemas.openxmlformats.org/officeDocument/2006/relationships/image" Target="../media/image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image" Target="../media/image4.wmf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4.wmf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9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1.jpe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4.w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9.xml"/><Relationship Id="rId20" Type="http://schemas.openxmlformats.org/officeDocument/2006/relationships/image" Target="../media/image4.wmf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0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1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1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3651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741363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5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7085014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89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6" y="7080251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53BFF9C3-F274-49E2-B65B-927A666BDDCC}" type="slidenum">
              <a:rPr lang="en-US" sz="1000">
                <a:solidFill>
                  <a:schemeClr val="bg2"/>
                </a:solidFill>
              </a:rPr>
              <a:pPr defTabSz="966702"/>
              <a:t>‹#›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42" r:id="rId1"/>
    <p:sldLayoutId id="2147485218" r:id="rId2"/>
    <p:sldLayoutId id="2147485219" r:id="rId3"/>
    <p:sldLayoutId id="2147485220" r:id="rId4"/>
    <p:sldLayoutId id="2147485221" r:id="rId5"/>
    <p:sldLayoutId id="2147485222" r:id="rId6"/>
    <p:sldLayoutId id="2147485223" r:id="rId7"/>
    <p:sldLayoutId id="2147485224" r:id="rId8"/>
    <p:sldLayoutId id="2147485225" r:id="rId9"/>
    <p:sldLayoutId id="2147485226" r:id="rId10"/>
    <p:sldLayoutId id="2147485227" r:id="rId11"/>
    <p:sldLayoutId id="2147485228" r:id="rId12"/>
    <p:sldLayoutId id="2147485229" r:id="rId13"/>
    <p:sldLayoutId id="2147485230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80" indent="-22858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479" indent="-17461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800029" indent="-169847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60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718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4348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150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866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5825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7"/>
            <a:ext cx="9601200" cy="673100"/>
            <a:chOff x="0" y="418"/>
            <a:chExt cx="5760" cy="397"/>
          </a:xfrm>
        </p:grpSpPr>
        <p:pic>
          <p:nvPicPr>
            <p:cNvPr id="1031" name="Picture 3" descr="Txt_DropShadow"/>
            <p:cNvPicPr preferRelativeResize="0">
              <a:picLocks noChangeAspect="1" noChangeArrowheads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300" b="1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39269" name="Picture 5" descr="90708_Grid"/>
          <p:cNvPicPr preferRelativeResize="0"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4" y="4"/>
            <a:ext cx="8963025" cy="1055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6664" tIns="43333" rIns="86664" bIns="4333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00"/>
            <a:ext cx="8686800" cy="202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6664" tIns="43333" rIns="86664" bIns="4333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39274" name="Picture 10" descr="New_Greendisc copy"/>
          <p:cNvPicPr preferRelativeResize="0"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979488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9208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1" r:id="rId1"/>
    <p:sldLayoutId id="2147485312" r:id="rId2"/>
    <p:sldLayoutId id="2147485313" r:id="rId3"/>
    <p:sldLayoutId id="2147485314" r:id="rId4"/>
    <p:sldLayoutId id="2147485315" r:id="rId5"/>
    <p:sldLayoutId id="2147485316" r:id="rId6"/>
    <p:sldLayoutId id="2147485317" r:id="rId7"/>
    <p:sldLayoutId id="2147485318" r:id="rId8"/>
    <p:sldLayoutId id="2147485319" r:id="rId9"/>
    <p:sldLayoutId id="2147485320" r:id="rId10"/>
    <p:sldLayoutId id="2147485321" r:id="rId11"/>
    <p:sldLayoutId id="2147485322" r:id="rId12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9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2pPr>
      <a:lvl3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3pPr>
      <a:lvl4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4pPr>
      <a:lvl5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5pPr>
      <a:lvl6pPr marL="456752" algn="l" defTabSz="965838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6pPr>
      <a:lvl7pPr marL="913505" algn="l" defTabSz="965838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7pPr>
      <a:lvl8pPr marL="1370255" algn="l" defTabSz="965838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8pPr>
      <a:lvl9pPr marL="1827009" algn="l" defTabSz="965838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9pPr>
    </p:titleStyle>
    <p:bodyStyle>
      <a:lvl1pPr marL="318918" indent="-318918" algn="l" defTabSz="964684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2200">
          <a:solidFill>
            <a:srgbClr val="000000"/>
          </a:solidFill>
          <a:latin typeface="+mn-lt"/>
          <a:ea typeface="+mn-ea"/>
          <a:cs typeface="+mn-cs"/>
        </a:defRPr>
      </a:lvl1pPr>
      <a:lvl2pPr marL="674326" indent="-245932" algn="l" defTabSz="964684" rtl="0" eaLnBrk="0" fontAlgn="base" hangingPunct="0">
        <a:spcBef>
          <a:spcPct val="0"/>
        </a:spcBef>
        <a:spcAft>
          <a:spcPct val="30000"/>
        </a:spcAft>
        <a:buClr>
          <a:schemeClr val="folHlink"/>
        </a:buClr>
        <a:buFont typeface="Wingdings" pitchFamily="2" charset="2"/>
        <a:buChar char="§"/>
        <a:defRPr sz="2000">
          <a:solidFill>
            <a:srgbClr val="000000"/>
          </a:solidFill>
          <a:latin typeface="+mn-lt"/>
        </a:defRPr>
      </a:lvl2pPr>
      <a:lvl3pPr marL="1015454" indent="-231651" algn="l" defTabSz="964684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2000">
          <a:solidFill>
            <a:srgbClr val="000000"/>
          </a:solidFill>
          <a:latin typeface="+mn-lt"/>
        </a:defRPr>
      </a:lvl3pPr>
      <a:lvl4pPr marL="1366107" indent="-239586" algn="l" defTabSz="964684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4pPr>
      <a:lvl5pPr marL="1723104" indent="-245932" algn="l" defTabSz="964684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5pPr>
      <a:lvl6pPr marL="2180674" indent="-247407" algn="l" defTabSz="965838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6pPr>
      <a:lvl7pPr marL="2637425" indent="-247407" algn="l" defTabSz="965838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7pPr>
      <a:lvl8pPr marL="3094178" indent="-247407" algn="l" defTabSz="965838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8pPr>
      <a:lvl9pPr marL="3550931" indent="-247407" algn="l" defTabSz="965838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52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05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55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09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761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12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264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16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266" name="Group 2"/>
          <p:cNvGrpSpPr>
            <a:grpSpLocks/>
          </p:cNvGrpSpPr>
          <p:nvPr/>
        </p:nvGrpSpPr>
        <p:grpSpPr bwMode="auto">
          <a:xfrm>
            <a:off x="0" y="93870"/>
            <a:ext cx="9601200" cy="673100"/>
            <a:chOff x="0" y="418"/>
            <a:chExt cx="5760" cy="397"/>
          </a:xfrm>
        </p:grpSpPr>
        <p:pic>
          <p:nvPicPr>
            <p:cNvPr id="139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139269" name="Picture 5" descr="90708_Grid"/>
          <p:cNvPicPr>
            <a:picLocks noChangeAspect="1" noChangeArrowheads="1"/>
          </p:cNvPicPr>
          <p:nvPr/>
        </p:nvPicPr>
        <p:blipFill>
          <a:blip r:embed="rId5" cstate="print"/>
          <a:srcRect t="18718" b="61028"/>
          <a:stretch>
            <a:fillRect/>
          </a:stretch>
        </p:blipFill>
        <p:spPr bwMode="auto">
          <a:xfrm>
            <a:off x="0" y="1"/>
            <a:ext cx="9601200" cy="457676"/>
          </a:xfrm>
          <a:prstGeom prst="rect">
            <a:avLst/>
          </a:prstGeom>
          <a:noFill/>
        </p:spPr>
      </p:pic>
      <p:sp>
        <p:nvSpPr>
          <p:cNvPr id="13927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4" y="0"/>
            <a:ext cx="8963025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571" tIns="48286" rIns="96571" bIns="482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927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05"/>
            <a:ext cx="8686800" cy="2077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571" tIns="48286" rIns="96571" bIns="48286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39274" name="Picture 10" descr="New_Greendisc cop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268" y="414338"/>
            <a:ext cx="465063" cy="254677"/>
          </a:xfrm>
          <a:prstGeom prst="rect">
            <a:avLst/>
          </a:prstGeom>
          <a:noFill/>
        </p:spPr>
      </p:pic>
      <p:pic>
        <p:nvPicPr>
          <p:cNvPr id="139278" name="Picture 14" descr="Fid_Logo_Grey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542503" y="7006102"/>
            <a:ext cx="1011202" cy="26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8" y="6981831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31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571" tIns="48286" rIns="96571" bIns="48286" anchor="b"/>
          <a:lstStyle/>
          <a:p>
            <a:pPr defTabSz="965956">
              <a:spcAft>
                <a:spcPct val="30000"/>
              </a:spcAft>
            </a:pPr>
            <a:fld id="{8CFA637D-6AB4-4735-A2FE-7EEF451E5EFC}" type="slidenum">
              <a:rPr lang="en-US" sz="900">
                <a:solidFill>
                  <a:srgbClr val="BFBFBF"/>
                </a:solidFill>
                <a:latin typeface="Arial" pitchFamily="34" charset="0"/>
              </a:rPr>
              <a:pPr defTabSz="965956">
                <a:spcAft>
                  <a:spcPct val="30000"/>
                </a:spcAft>
              </a:pPr>
              <a:t>‹#›</a:t>
            </a:fld>
            <a:endParaRPr lang="en-US" sz="9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13" y="7006851"/>
            <a:ext cx="1343025" cy="236099"/>
          </a:xfrm>
          <a:prstGeom prst="rect">
            <a:avLst/>
          </a:prstGeom>
        </p:spPr>
        <p:txBody>
          <a:bodyPr lIns="91361" tIns="45680" rIns="91361" bIns="45680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331" indent="-282331" defTabSz="965956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0806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8" r:id="rId1"/>
    <p:sldLayoutId id="2147485329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6806"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3614"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70423"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7228"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2331" indent="-282331" algn="l" defTabSz="965956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2037" indent="-220475" algn="l" defTabSz="965956" rtl="0" eaLnBrk="1" fontAlgn="base" hangingPunct="1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9401" indent="-207784" algn="l" defTabSz="965956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itchFamily="34" charset="0"/>
        <a:buChar char="–"/>
        <a:defRPr sz="2000">
          <a:solidFill>
            <a:srgbClr val="000000"/>
          </a:solidFill>
          <a:latin typeface="+mn-lt"/>
        </a:defRPr>
      </a:lvl3pPr>
      <a:lvl4pPr marL="1376766" indent="-182407" algn="l" defTabSz="965956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11437" indent="-160200" algn="l" defTabSz="965956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8247" indent="-160200" algn="l" defTabSz="96595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25053" indent="-160200" algn="l" defTabSz="96595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81861" indent="-160200" algn="l" defTabSz="96595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38666" indent="-160200" algn="l" defTabSz="96595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06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14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23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28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35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42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651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455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34"/>
            <a:ext cx="9601200" cy="673100"/>
            <a:chOff x="0" y="418"/>
            <a:chExt cx="5760" cy="397"/>
          </a:xfrm>
        </p:grpSpPr>
        <p:pic>
          <p:nvPicPr>
            <p:cNvPr id="96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6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96259" name="Picture 5" descr="90708_Grid"/>
          <p:cNvPicPr>
            <a:picLocks noChangeAspect="1" noChangeArrowheads="1"/>
          </p:cNvPicPr>
          <p:nvPr/>
        </p:nvPicPr>
        <p:blipFill>
          <a:blip r:embed="rId7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9" y="12"/>
            <a:ext cx="8963025" cy="1055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82" tIns="48143" rIns="96282" bIns="4814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626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29"/>
            <a:ext cx="8686800" cy="207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82" tIns="48143" rIns="96282" bIns="4814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2250" y="977967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263" name="Picture 14" descr="Fid_Logo_Grey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185193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9" y="6981891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66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282" tIns="48143" rIns="96282" bIns="48143" anchor="b"/>
          <a:lstStyle/>
          <a:p>
            <a:pPr defTabSz="963126">
              <a:spcAft>
                <a:spcPct val="30000"/>
              </a:spcAft>
              <a:defRPr/>
            </a:pPr>
            <a:fld id="{3A2BBF96-FC31-4A7F-8186-23D3EDEF0341}" type="slidenum">
              <a:rPr lang="en-US" sz="1000">
                <a:solidFill>
                  <a:srgbClr val="BFBFBF"/>
                </a:solidFill>
                <a:latin typeface="Arial" pitchFamily="34" charset="0"/>
              </a:rPr>
              <a:pPr defTabSz="963126">
                <a:spcAft>
                  <a:spcPct val="30000"/>
                </a:spcAft>
                <a:defRPr/>
              </a:pPr>
              <a:t>‹#›</a:t>
            </a:fld>
            <a:endParaRPr lang="en-US" sz="10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42" y="7007225"/>
            <a:ext cx="1343025" cy="234950"/>
          </a:xfrm>
          <a:prstGeom prst="rect">
            <a:avLst/>
          </a:prstGeom>
        </p:spPr>
        <p:txBody>
          <a:bodyPr lIns="91085" tIns="45544" rIns="91085" bIns="45544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1505" indent="-281505" defTabSz="963126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5274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1" r:id="rId1"/>
    <p:sldLayoutId id="2147485332" r:id="rId2"/>
    <p:sldLayoutId id="2147485333" r:id="rId3"/>
    <p:sldLayoutId id="2147485334" r:id="rId4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5468" algn="l" defTabSz="96312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0929" algn="l" defTabSz="96312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66399" algn="l" defTabSz="96312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1864" algn="l" defTabSz="96312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1505" indent="-281505" algn="l" defTabSz="96312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0033" indent="-219830" algn="l" defTabSz="963126" rtl="0" eaLnBrk="0" fontAlgn="base" hangingPunct="0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6374" indent="-207162" algn="l" defTabSz="96312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72734" indent="-181871" algn="l" defTabSz="96312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06427" indent="-159731" algn="l" defTabSz="96312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1875" indent="-159731" algn="l" defTabSz="96312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17360" indent="-159731" algn="l" defTabSz="96312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72829" indent="-159731" algn="l" defTabSz="96312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28304" indent="-159731" algn="l" defTabSz="96312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68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929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399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864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39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795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279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740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3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2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0" y="5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08" tIns="48306" rIns="96608" bIns="483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2" y="1263654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08" tIns="48306" rIns="96608" bIns="48306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3" y="741366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8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8" y="7085018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08" tIns="48306" rIns="96608" bIns="48306" numCol="1" anchor="b" anchorCtr="0" compatLnSpc="1">
            <a:prstTxWarp prst="textNoShape">
              <a:avLst/>
            </a:prstTxWarp>
          </a:bodyPr>
          <a:lstStyle>
            <a:lvl1pPr defTabSz="96641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93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7" y="7080254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08" tIns="48306" rIns="96608" bIns="48306" anchor="b"/>
          <a:lstStyle/>
          <a:p>
            <a:pPr defTabSz="966412"/>
            <a:fld id="{53BFF9C3-F274-49E2-B65B-927A666BDDCC}" type="slidenum">
              <a:rPr lang="en-US" sz="1000">
                <a:solidFill>
                  <a:srgbClr val="808080"/>
                </a:solidFill>
              </a:rPr>
              <a:pPr defTabSz="966412"/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545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  <p:sldLayoutId id="2147485339" r:id="rId4"/>
    <p:sldLayoutId id="2147485340" r:id="rId5"/>
    <p:sldLayoutId id="2147485341" r:id="rId6"/>
    <p:sldLayoutId id="2147485342" r:id="rId7"/>
    <p:sldLayoutId id="2147485343" r:id="rId8"/>
    <p:sldLayoutId id="2147485344" r:id="rId9"/>
    <p:sldLayoutId id="2147485345" r:id="rId10"/>
    <p:sldLayoutId id="2147485346" r:id="rId11"/>
    <p:sldLayoutId id="2147485347" r:id="rId12"/>
    <p:sldLayoutId id="2147485348" r:id="rId13"/>
    <p:sldLayoutId id="2147485349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023" algn="l" defTabSz="96641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045" algn="l" defTabSz="96641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067" algn="l" defTabSz="96641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090" algn="l" defTabSz="96641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12" indent="-228512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321" indent="-174558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799789" indent="-169796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300" indent="-114255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6811" indent="-114255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3835" indent="-114255" algn="l" defTabSz="96641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0856" indent="-114255" algn="l" defTabSz="96641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7877" indent="-114255" algn="l" defTabSz="96641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4900" indent="-114255" algn="l" defTabSz="96641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3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45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67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90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11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34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57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77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30" name="Group 2"/>
          <p:cNvGrpSpPr>
            <a:grpSpLocks/>
          </p:cNvGrpSpPr>
          <p:nvPr/>
        </p:nvGrpSpPr>
        <p:grpSpPr bwMode="auto">
          <a:xfrm>
            <a:off x="0" y="271488"/>
            <a:ext cx="9601200" cy="671513"/>
            <a:chOff x="0" y="418"/>
            <a:chExt cx="5760" cy="397"/>
          </a:xfrm>
        </p:grpSpPr>
        <p:pic>
          <p:nvPicPr>
            <p:cNvPr id="22539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540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962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962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962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962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>
                <a:buClr>
                  <a:srgbClr val="E84614"/>
                </a:buClr>
                <a:buSzPct val="90000"/>
                <a:buFont typeface="Monotype Sorts" charset="2"/>
                <a:buNone/>
                <a:defRPr/>
              </a:pPr>
              <a:endParaRPr lang="en-US" altLang="en-US" sz="1100" baseline="300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22531" name="Picture 5" descr="90708_Grid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0"/>
            <a:ext cx="9601200" cy="63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2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20675" y="-217488"/>
            <a:ext cx="8959850" cy="1057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257" tIns="48130" rIns="96257" bIns="4813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2533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2763" y="1549404"/>
            <a:ext cx="8688387" cy="154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257" tIns="48130" rIns="96257" bIns="4813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22534" name="Picture 8" descr="New_Greendisc copy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39" y="541344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5" name="Picture 9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413" y="6940576"/>
            <a:ext cx="1368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0154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8" y="7065990"/>
            <a:ext cx="5840412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57" tIns="48130" rIns="96257" bIns="48130" numCol="1" anchor="b" anchorCtr="0" compatLnSpc="1">
            <a:prstTxWarp prst="textNoShape">
              <a:avLst/>
            </a:prstTxWarp>
          </a:bodyPr>
          <a:lstStyle>
            <a:lvl1pPr algn="l" defTabSz="962786" eaLnBrk="0" hangingPunct="0">
              <a:spcAft>
                <a:spcPct val="30000"/>
              </a:spcAft>
              <a:defRPr sz="800">
                <a:solidFill>
                  <a:srgbClr val="808080"/>
                </a:solidFill>
                <a:latin typeface="Arial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22537" name="Line 11"/>
          <p:cNvSpPr>
            <a:spLocks noChangeShapeType="1"/>
          </p:cNvSpPr>
          <p:nvPr/>
        </p:nvSpPr>
        <p:spPr bwMode="auto">
          <a:xfrm flipV="1">
            <a:off x="381000" y="7040570"/>
            <a:ext cx="0" cy="246062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algn="ctr"/>
            <a:endParaRPr lang="en-US" dirty="0" smtClean="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2538" name="Rectangle 12"/>
          <p:cNvSpPr>
            <a:spLocks noChangeArrowheads="1"/>
          </p:cNvSpPr>
          <p:nvPr/>
        </p:nvSpPr>
        <p:spPr bwMode="auto">
          <a:xfrm>
            <a:off x="73025" y="6953250"/>
            <a:ext cx="338138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257" tIns="48130" rIns="96257" bIns="48130" anchor="b"/>
          <a:lstStyle>
            <a:lvl1pPr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962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962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962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962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Aft>
                <a:spcPct val="30000"/>
              </a:spcAft>
              <a:defRPr/>
            </a:pPr>
            <a:fld id="{D615C1E6-F238-4FB5-8FDF-A9E8B8958391}" type="slidenum">
              <a:rPr lang="en-US" altLang="en-US" sz="800" smtClean="0">
                <a:solidFill>
                  <a:srgbClr val="808080"/>
                </a:solidFill>
              </a:rPr>
              <a:pPr eaLnBrk="1" hangingPunct="1">
                <a:spcAft>
                  <a:spcPct val="3000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164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5" r:id="rId1"/>
    <p:sldLayoutId id="2147485366" r:id="rId2"/>
    <p:sldLayoutId id="2147485367" r:id="rId3"/>
    <p:sldLayoutId id="2147485368" r:id="rId4"/>
    <p:sldLayoutId id="2147485369" r:id="rId5"/>
    <p:sldLayoutId id="2147485370" r:id="rId6"/>
    <p:sldLayoutId id="2147485371" r:id="rId7"/>
    <p:sldLayoutId id="2147485372" r:id="rId8"/>
    <p:sldLayoutId id="2147485373" r:id="rId9"/>
    <p:sldLayoutId id="2147485374" r:id="rId10"/>
    <p:sldLayoutId id="2147485375" r:id="rId11"/>
    <p:sldLayoutId id="2147485376" r:id="rId12"/>
    <p:sldLayoutId id="2147485377" r:id="rId13"/>
    <p:sldLayoutId id="2147485378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+mj-lt"/>
          <a:ea typeface="MS PGothic" pitchFamily="34" charset="-128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  <a:ea typeface="MS PGothic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  <a:ea typeface="MS PGothic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  <a:ea typeface="MS PGothic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  <a:ea typeface="MS PGothic" pitchFamily="34" charset="-128"/>
          <a:cs typeface="ＭＳ Ｐゴシック"/>
        </a:defRPr>
      </a:lvl5pPr>
      <a:lvl6pPr marL="481349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</a:defRPr>
      </a:lvl6pPr>
      <a:lvl7pPr marL="962698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</a:defRPr>
      </a:lvl7pPr>
      <a:lvl8pPr marL="1444046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</a:defRPr>
      </a:lvl8pPr>
      <a:lvl9pPr marL="19254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</a:defRPr>
      </a:lvl9pPr>
    </p:titleStyle>
    <p:bodyStyle>
      <a:lvl1pPr marL="357977" indent="-357977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defRPr sz="17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1pPr>
      <a:lvl2pPr marL="362726" indent="-242349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7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2pPr>
      <a:lvl3pPr marL="715954" indent="-228094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3pPr>
      <a:lvl4pPr marL="1081852" indent="-239182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4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4pPr>
      <a:lvl5pPr marL="1449325" indent="-243932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5pPr>
      <a:lvl6pPr marL="1933756" indent="-247358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</a:defRPr>
      </a:lvl6pPr>
      <a:lvl7pPr marL="2415104" indent="-247358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</a:defRPr>
      </a:lvl7pPr>
      <a:lvl8pPr marL="2896442" indent="-247358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</a:defRPr>
      </a:lvl8pPr>
      <a:lvl9pPr marL="3377804" indent="-247358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1349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2698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4046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5400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6750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8094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9450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50796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0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1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1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3651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741363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5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7085014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89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6" y="7080251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53BFF9C3-F274-49E2-B65B-927A666BDDCC}" type="slidenum">
              <a:rPr lang="en-US" sz="1000">
                <a:solidFill>
                  <a:srgbClr val="808080"/>
                </a:solidFill>
              </a:rPr>
              <a:pPr defTabSz="966702"/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447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0" r:id="rId1"/>
    <p:sldLayoutId id="2147485381" r:id="rId2"/>
    <p:sldLayoutId id="2147485382" r:id="rId3"/>
    <p:sldLayoutId id="2147485383" r:id="rId4"/>
    <p:sldLayoutId id="2147485384" r:id="rId5"/>
    <p:sldLayoutId id="2147485385" r:id="rId6"/>
    <p:sldLayoutId id="2147485386" r:id="rId7"/>
    <p:sldLayoutId id="2147485387" r:id="rId8"/>
    <p:sldLayoutId id="2147485388" r:id="rId9"/>
    <p:sldLayoutId id="2147485389" r:id="rId10"/>
    <p:sldLayoutId id="2147485390" r:id="rId11"/>
    <p:sldLayoutId id="2147485391" r:id="rId12"/>
    <p:sldLayoutId id="2147485392" r:id="rId13"/>
    <p:sldLayoutId id="2147485393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80" indent="-22858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479" indent="-17461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800029" indent="-169847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60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718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4348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150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866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5825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ivider_Slid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288"/>
            <a:ext cx="96012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62038" y="2554288"/>
            <a:ext cx="7639050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62038" y="3267076"/>
            <a:ext cx="7666037" cy="151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6487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6865938"/>
            <a:ext cx="5842001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spcAft>
                <a:spcPct val="30000"/>
              </a:spcAft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  <p:sp>
        <p:nvSpPr>
          <p:cNvPr id="2054" name="Line 8"/>
          <p:cNvSpPr>
            <a:spLocks noChangeShapeType="1"/>
          </p:cNvSpPr>
          <p:nvPr/>
        </p:nvSpPr>
        <p:spPr bwMode="auto">
          <a:xfrm flipV="1">
            <a:off x="382589" y="7004051"/>
            <a:ext cx="0" cy="331788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endParaRPr lang="en-US" dirty="0"/>
          </a:p>
        </p:txBody>
      </p:sp>
      <p:sp>
        <p:nvSpPr>
          <p:cNvPr id="2055" name="Rectangle 9"/>
          <p:cNvSpPr>
            <a:spLocks noChangeArrowheads="1"/>
          </p:cNvSpPr>
          <p:nvPr/>
        </p:nvSpPr>
        <p:spPr bwMode="auto">
          <a:xfrm>
            <a:off x="73026" y="6684963"/>
            <a:ext cx="339725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C7D86FE2-013C-4BEB-A276-A0DA29E754F1}" type="slidenum">
              <a:rPr lang="en-US" sz="1000">
                <a:solidFill>
                  <a:schemeClr val="bg2"/>
                </a:solidFill>
              </a:rPr>
              <a:pPr defTabSz="966702"/>
              <a:t>‹#›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  <p:sldLayoutId id="2147485241" r:id="rId11"/>
  </p:sldLayoutIdLst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9pPr>
    </p:titleStyle>
    <p:bodyStyle>
      <a:lvl1pPr marL="342869" indent="-342869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784155" indent="-301598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2pPr>
      <a:lvl3pPr marL="1207980" indent="-241279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3pPr>
      <a:lvl4pPr marL="1688950" indent="-238103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4pPr>
      <a:lvl5pPr marL="2174681" indent="-241279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5pPr>
      <a:lvl6pPr marL="2631841" indent="-241279" algn="l" defTabSz="966702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6pPr>
      <a:lvl7pPr marL="3088999" indent="-241279" algn="l" defTabSz="966702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7pPr>
      <a:lvl8pPr marL="3546159" indent="-241279" algn="l" defTabSz="966702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8pPr>
      <a:lvl9pPr marL="4003318" indent="-241279" algn="l" defTabSz="966702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43399582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9266" name="Group 2"/>
          <p:cNvGrpSpPr>
            <a:grpSpLocks/>
          </p:cNvGrpSpPr>
          <p:nvPr/>
        </p:nvGrpSpPr>
        <p:grpSpPr bwMode="auto">
          <a:xfrm>
            <a:off x="0" y="536577"/>
            <a:ext cx="9601200" cy="673100"/>
            <a:chOff x="0" y="418"/>
            <a:chExt cx="5760" cy="397"/>
          </a:xfrm>
        </p:grpSpPr>
        <p:pic>
          <p:nvPicPr>
            <p:cNvPr id="139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14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139269" name="Picture 5" descr="90708_Grid"/>
          <p:cNvPicPr>
            <a:picLocks noChangeAspect="1" noChangeArrowheads="1"/>
          </p:cNvPicPr>
          <p:nvPr/>
        </p:nvPicPr>
        <p:blipFill>
          <a:blip r:embed="rId8" cstate="print"/>
          <a:srcRect t="18718" b="61028"/>
          <a:stretch>
            <a:fillRect/>
          </a:stretch>
        </p:blipFill>
        <p:spPr bwMode="auto">
          <a:xfrm>
            <a:off x="0" y="0"/>
            <a:ext cx="9601200" cy="876300"/>
          </a:xfrm>
          <a:prstGeom prst="rect">
            <a:avLst/>
          </a:prstGeom>
          <a:noFill/>
        </p:spPr>
      </p:pic>
      <p:sp>
        <p:nvSpPr>
          <p:cNvPr id="13927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5" y="4"/>
            <a:ext cx="8963025" cy="1055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593" tIns="48298" rIns="96593" bIns="4829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927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9413" y="1273181"/>
            <a:ext cx="8897937" cy="2077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593" tIns="48298" rIns="96593" bIns="4829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39274" name="Picture 10" descr="New_Greendisc copy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22250" y="806458"/>
            <a:ext cx="600075" cy="328613"/>
          </a:xfrm>
          <a:prstGeom prst="rect">
            <a:avLst/>
          </a:prstGeom>
          <a:noFill/>
        </p:spPr>
      </p:pic>
      <p:pic>
        <p:nvPicPr>
          <p:cNvPr id="139278" name="Picture 14" descr="Fid_Logo_Grey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462964" y="6985526"/>
            <a:ext cx="1090737" cy="282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9" y="7067556"/>
            <a:ext cx="0" cy="213526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en-US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31" y="7043727"/>
            <a:ext cx="36750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593" tIns="48298" rIns="96593" bIns="48298" anchor="b"/>
          <a:lstStyle/>
          <a:p>
            <a:pPr defTabSz="966184">
              <a:spcAft>
                <a:spcPct val="30000"/>
              </a:spcAft>
            </a:pPr>
            <a:fld id="{8CFA637D-6AB4-4735-A2FE-7EEF451E5EFC}" type="slidenum">
              <a:rPr lang="en-US" sz="1000">
                <a:solidFill>
                  <a:srgbClr val="BFBFBF"/>
                </a:solidFill>
                <a:latin typeface="Arial" pitchFamily="34" charset="0"/>
              </a:rPr>
              <a:pPr defTabSz="966184">
                <a:spcAft>
                  <a:spcPct val="30000"/>
                </a:spcAft>
              </a:pPr>
              <a:t>‹#›</a:t>
            </a:fld>
            <a:endParaRPr lang="en-US" sz="10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13" y="7049709"/>
            <a:ext cx="2446914" cy="225135"/>
          </a:xfrm>
          <a:prstGeom prst="rect">
            <a:avLst/>
          </a:prstGeom>
        </p:spPr>
        <p:txBody>
          <a:bodyPr lIns="91383" tIns="45691" rIns="91383" bIns="45691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399" indent="-282399" defTabSz="966184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sz="1000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Highly Confidential Information</a:t>
            </a:r>
            <a:endParaRPr lang="en-US" sz="1000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35877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4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6916"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3830"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70744"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7660"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2399" indent="-282399" algn="l" defTabSz="966184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2199" indent="-220525" algn="l" defTabSz="966184" rtl="0" eaLnBrk="1" fontAlgn="base" hangingPunct="1">
        <a:spcBef>
          <a:spcPct val="0"/>
        </a:spcBef>
        <a:spcAft>
          <a:spcPts val="800"/>
        </a:spcAft>
        <a:buClr>
          <a:schemeClr val="accent1">
            <a:lumMod val="75000"/>
          </a:schemeClr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9644" indent="-207830" algn="l" defTabSz="966184" rtl="0" eaLnBrk="1" fontAlgn="base" hangingPunct="1">
        <a:spcBef>
          <a:spcPct val="0"/>
        </a:spcBef>
        <a:spcAft>
          <a:spcPts val="800"/>
        </a:spcAft>
        <a:buClr>
          <a:schemeClr val="accent1">
            <a:lumMod val="75000"/>
          </a:schemeClr>
        </a:buClr>
        <a:buFont typeface="Arial" pitchFamily="34" charset="0"/>
        <a:buChar char="–"/>
        <a:defRPr sz="2000">
          <a:solidFill>
            <a:srgbClr val="000000"/>
          </a:solidFill>
          <a:latin typeface="+mn-lt"/>
        </a:defRPr>
      </a:lvl3pPr>
      <a:lvl4pPr marL="1377091" indent="-182449" algn="l" defTabSz="966184" rtl="0" eaLnBrk="1" fontAlgn="base" hangingPunct="1">
        <a:spcBef>
          <a:spcPct val="0"/>
        </a:spcBef>
        <a:spcAft>
          <a:spcPts val="800"/>
        </a:spcAft>
        <a:buClr>
          <a:schemeClr val="accent1">
            <a:lumMod val="75000"/>
          </a:schemeClr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11844" indent="-160237" algn="l" defTabSz="966184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8759" indent="-160237" algn="l" defTabSz="966184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25674" indent="-160237" algn="l" defTabSz="966184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82589" indent="-160237" algn="l" defTabSz="966184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39506" indent="-160237" algn="l" defTabSz="966184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6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0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4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0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5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89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04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19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6"/>
            <a:ext cx="9601200" cy="673100"/>
            <a:chOff x="0" y="418"/>
            <a:chExt cx="5760" cy="397"/>
          </a:xfrm>
        </p:grpSpPr>
        <p:pic>
          <p:nvPicPr>
            <p:cNvPr id="20491" name="Picture 3" descr="Txt_DropShadow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defTabSz="96652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20483" name="Picture 5" descr="90708_Grid"/>
          <p:cNvPicPr>
            <a:picLocks noChangeAspect="1" noChangeArrowheads="1"/>
          </p:cNvPicPr>
          <p:nvPr/>
        </p:nvPicPr>
        <p:blipFill>
          <a:blip r:embed="rId3" cstate="print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4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0"/>
            <a:ext cx="8963025" cy="1055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46" tIns="48323" rIns="96646" bIns="4832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485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399"/>
            <a:ext cx="8686800" cy="2077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46" tIns="48323" rIns="96646" bIns="4832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20486" name="Picture 10" descr="New_Greendisc copy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2250" y="977902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7" name="Picture 14" descr="Fid_Logo_Grey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9" y="6981827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665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26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46" tIns="48323" rIns="96646" bIns="48323" anchor="b"/>
          <a:lstStyle/>
          <a:p>
            <a:pPr defTabSz="966702" fontAlgn="auto">
              <a:spcBef>
                <a:spcPts val="0"/>
              </a:spcBef>
              <a:spcAft>
                <a:spcPct val="30000"/>
              </a:spcAft>
              <a:defRPr/>
            </a:pPr>
            <a:fld id="{1F684B3A-8731-4D71-B7ED-1275779B9046}" type="slidenum">
              <a:rPr lang="en-US" sz="1000">
                <a:solidFill>
                  <a:srgbClr val="BFBFBF"/>
                </a:solidFill>
                <a:latin typeface="Arial" pitchFamily="34" charset="0"/>
              </a:rPr>
              <a:pPr defTabSz="966702" fontAlgn="auto">
                <a:spcBef>
                  <a:spcPts val="0"/>
                </a:spcBef>
                <a:spcAft>
                  <a:spcPct val="30000"/>
                </a:spcAft>
                <a:defRPr/>
              </a:pPr>
              <a:t>‹#›</a:t>
            </a:fld>
            <a:endParaRPr lang="en-US" sz="100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14" y="7007225"/>
            <a:ext cx="1343025" cy="234950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550" indent="-282550" defTabSz="966702" fontAlgn="auto">
              <a:spcBef>
                <a:spcPts val="0"/>
              </a:spcBef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4600511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7159" algn="l" defTabSz="966702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4319" algn="l" defTabSz="966702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71477" algn="l" defTabSz="966702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8637" algn="l" defTabSz="966702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2550" indent="-282550" algn="l" defTabSz="966702" rtl="0" fontAlgn="base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2564" indent="-220643" algn="l" defTabSz="966702" rtl="0" fontAlgn="base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30196" indent="-207944" algn="l" defTabSz="966702" rtl="0" fontAlgn="base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77827" indent="-182546" algn="l" defTabSz="966702" rtl="0" fontAlgn="base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12760" indent="-160324" algn="l" defTabSz="966702" rtl="0" fontAlgn="base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9920" indent="-160324" algn="l" defTabSz="966702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27078" indent="-160324" algn="l" defTabSz="966702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84238" indent="-160324" algn="l" defTabSz="966702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41397" indent="-160324" algn="l" defTabSz="966702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0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1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1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3651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741363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5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7085014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89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6" y="7080251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53BFF9C3-F274-49E2-B65B-927A666BDDCC}" type="slidenum">
              <a:rPr lang="en-US" sz="1000">
                <a:solidFill>
                  <a:srgbClr val="808080"/>
                </a:solidFill>
              </a:rPr>
              <a:pPr defTabSz="966702"/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79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  <p:sldLayoutId id="2147485267" r:id="rId8"/>
    <p:sldLayoutId id="2147485268" r:id="rId9"/>
    <p:sldLayoutId id="2147485269" r:id="rId10"/>
    <p:sldLayoutId id="2147485270" r:id="rId11"/>
    <p:sldLayoutId id="2147485271" r:id="rId12"/>
    <p:sldLayoutId id="2147485272" r:id="rId13"/>
    <p:sldLayoutId id="2147485273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80" indent="-22858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479" indent="-17461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800029" indent="-169847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60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718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4348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150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866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5825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7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1399" tIns="45699" rIns="91399" bIns="45699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8" y="4"/>
            <a:ext cx="8963025" cy="1055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11" tIns="48110" rIns="96211" bIns="4811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24"/>
            <a:ext cx="8686800" cy="2077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11" tIns="48110" rIns="96211" bIns="4811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22250" y="979488"/>
            <a:ext cx="600075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9" y="6981870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34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211" tIns="48110" rIns="96211" bIns="48110" anchor="b"/>
          <a:lstStyle/>
          <a:p>
            <a:pPr defTabSz="962827">
              <a:spcAft>
                <a:spcPct val="30000"/>
              </a:spcAft>
              <a:defRPr/>
            </a:pPr>
            <a:fld id="{71FF46E8-AA29-4262-B202-9979C7AC25FC}" type="slidenum">
              <a:rPr lang="en-US" sz="1000">
                <a:solidFill>
                  <a:srgbClr val="BFBFBF"/>
                </a:solidFill>
              </a:rPr>
              <a:pPr defTabSz="962827">
                <a:spcAft>
                  <a:spcPct val="30000"/>
                </a:spcAft>
                <a:defRPr/>
              </a:pPr>
              <a:t>‹#›</a:t>
            </a:fld>
            <a:endParaRPr lang="en-US" sz="1000" dirty="0">
              <a:solidFill>
                <a:srgbClr val="BFBFBF"/>
              </a:solidFill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 bwMode="auto">
          <a:xfrm>
            <a:off x="379457" y="7007225"/>
            <a:ext cx="1343025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021" tIns="45510" rIns="91021" bIns="45510"/>
          <a:lstStyle/>
          <a:p>
            <a:pPr marL="281419" indent="-281419" defTabSz="962827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sz="1000" dirty="0">
                <a:solidFill>
                  <a:srgbClr val="7F7F7F"/>
                </a:solidFill>
              </a:rPr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1586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5" r:id="rId1"/>
    <p:sldLayoutId id="2147485276" r:id="rId2"/>
    <p:sldLayoutId id="2147485277" r:id="rId3"/>
    <p:sldLayoutId id="2147485278" r:id="rId4"/>
    <p:sldLayoutId id="2147485279" r:id="rId5"/>
    <p:sldLayoutId id="2147485280" r:id="rId6"/>
    <p:sldLayoutId id="2147485281" r:id="rId7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5331" algn="l" defTabSz="962827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0657" algn="l" defTabSz="962827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65987" algn="l" defTabSz="962827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1317" algn="l" defTabSz="962827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78363" indent="-278363" algn="l" defTabSz="96001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76913" indent="-216681" algn="l" defTabSz="960016" rtl="0" eaLnBrk="0" fontAlgn="base" hangingPunct="0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3265" indent="-204020" algn="l" defTabSz="96001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69639" indent="-178720" algn="l" defTabSz="96001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03351" indent="-156576" algn="l" defTabSz="96001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1235" indent="-159679" algn="l" defTabSz="962827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16565" indent="-159679" algn="l" defTabSz="962827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71893" indent="-159679" algn="l" defTabSz="962827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27236" indent="-159679" algn="l" defTabSz="962827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31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657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987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317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648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980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308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638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5"/>
            <a:ext cx="9601200" cy="673100"/>
            <a:chOff x="0" y="418"/>
            <a:chExt cx="5760" cy="397"/>
          </a:xfrm>
        </p:grpSpPr>
        <p:pic>
          <p:nvPicPr>
            <p:cNvPr id="96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7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96259" name="Picture 5" descr="90708_Grid"/>
          <p:cNvPicPr>
            <a:picLocks noChangeAspect="1" noChangeArrowheads="1"/>
          </p:cNvPicPr>
          <p:nvPr/>
        </p:nvPicPr>
        <p:blipFill>
          <a:blip r:embed="rId8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8" y="0"/>
            <a:ext cx="8963025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5" tIns="48328" rIns="96655" bIns="4832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626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00"/>
            <a:ext cx="8686800" cy="207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5" tIns="48328" rIns="96655" bIns="4832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22250" y="977900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263" name="Picture 14" descr="Fid_Logo_Grey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8" y="6981825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25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55" tIns="48328" rIns="96655" bIns="48328" anchor="b"/>
          <a:lstStyle/>
          <a:p>
            <a:pPr defTabSz="966788">
              <a:spcAft>
                <a:spcPct val="30000"/>
              </a:spcAft>
              <a:defRPr/>
            </a:pPr>
            <a:fld id="{3A2BBF96-FC31-4A7F-8186-23D3EDEF0341}" type="slidenum">
              <a:rPr lang="en-US" sz="900">
                <a:solidFill>
                  <a:srgbClr val="BFBFBF"/>
                </a:solidFill>
                <a:latin typeface="Arial" pitchFamily="34" charset="0"/>
              </a:rPr>
              <a:pPr defTabSz="966788">
                <a:spcAft>
                  <a:spcPct val="30000"/>
                </a:spcAft>
                <a:defRPr/>
              </a:pPr>
              <a:t>‹#›</a:t>
            </a:fld>
            <a:endParaRPr lang="en-US" sz="9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13" y="7007225"/>
            <a:ext cx="1343025" cy="234950"/>
          </a:xfrm>
          <a:prstGeom prst="rect">
            <a:avLst/>
          </a:prstGeom>
        </p:spPr>
        <p:txBody>
          <a:bodyPr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575" indent="-282575" defTabSz="966788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8118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4" r:id="rId1"/>
    <p:sldLayoutId id="2147485285" r:id="rId2"/>
    <p:sldLayoutId id="2147485286" r:id="rId3"/>
    <p:sldLayoutId id="2147485287" r:id="rId4"/>
    <p:sldLayoutId id="2147485288" r:id="rId5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7200" algn="l" defTabSz="966788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4400" algn="l" defTabSz="966788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71600" algn="l" defTabSz="966788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8800" algn="l" defTabSz="966788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2575" indent="-282575" algn="l" defTabSz="966788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2625" indent="-220663" algn="l" defTabSz="966788" rtl="0" eaLnBrk="0" fontAlgn="base" hangingPunct="0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30288" indent="-207963" algn="l" defTabSz="966788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77950" indent="-182563" algn="l" defTabSz="966788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12913" indent="-160338" algn="l" defTabSz="966788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70113" indent="-160338" algn="l" defTabSz="966788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27313" indent="-160338" algn="l" defTabSz="966788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84513" indent="-160338" algn="l" defTabSz="966788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41713" indent="-160338" algn="l" defTabSz="966788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5"/>
            <a:ext cx="9601200" cy="673100"/>
            <a:chOff x="0" y="418"/>
            <a:chExt cx="5760" cy="397"/>
          </a:xfrm>
        </p:grpSpPr>
        <p:pic>
          <p:nvPicPr>
            <p:cNvPr id="96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6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96259" name="Picture 5" descr="90708_Grid"/>
          <p:cNvPicPr>
            <a:picLocks noChangeAspect="1" noChangeArrowheads="1"/>
          </p:cNvPicPr>
          <p:nvPr/>
        </p:nvPicPr>
        <p:blipFill>
          <a:blip r:embed="rId7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8" y="4"/>
            <a:ext cx="8963025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847" tIns="47924" rIns="95847" bIns="4792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626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2" y="1549405"/>
            <a:ext cx="8686800" cy="207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847" tIns="47924" rIns="95847" bIns="47924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2254" y="978020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263" name="Picture 14" descr="Fid_Logo_Grey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185159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8" y="6981945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25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847" tIns="47924" rIns="95847" bIns="47924" anchor="b"/>
          <a:lstStyle/>
          <a:p>
            <a:pPr defTabSz="958675">
              <a:spcAft>
                <a:spcPct val="30000"/>
              </a:spcAft>
              <a:defRPr/>
            </a:pPr>
            <a:fld id="{3A2BBF96-FC31-4A7F-8186-23D3EDEF0341}" type="slidenum">
              <a:rPr lang="en-US" sz="900">
                <a:solidFill>
                  <a:srgbClr val="BFBFBF"/>
                </a:solidFill>
                <a:latin typeface="Arial" pitchFamily="34" charset="0"/>
              </a:rPr>
              <a:pPr defTabSz="958675">
                <a:spcAft>
                  <a:spcPct val="30000"/>
                </a:spcAft>
                <a:defRPr/>
              </a:pPr>
              <a:t>‹#›</a:t>
            </a:fld>
            <a:endParaRPr lang="en-US" sz="9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533" y="7007225"/>
            <a:ext cx="1343025" cy="234950"/>
          </a:xfrm>
          <a:prstGeom prst="rect">
            <a:avLst/>
          </a:prstGeom>
        </p:spPr>
        <p:txBody>
          <a:bodyPr lIns="90679" tIns="45340" rIns="90679" bIns="45340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0231" indent="-280231" defTabSz="958675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4250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0" r:id="rId1"/>
    <p:sldLayoutId id="2147485291" r:id="rId2"/>
    <p:sldLayoutId id="2147485292" r:id="rId3"/>
    <p:sldLayoutId id="2147485293" r:id="rId4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3365" algn="l" defTabSz="958675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06728" algn="l" defTabSz="958675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60094" algn="l" defTabSz="958675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13446" algn="l" defTabSz="958675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0231" indent="-280231" algn="l" defTabSz="958675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76898" indent="-218807" algn="l" defTabSz="958675" rtl="0" eaLnBrk="0" fontAlgn="base" hangingPunct="0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1639" indent="-206213" algn="l" defTabSz="958675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66393" indent="-181030" algn="l" defTabSz="958675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698536" indent="-158995" algn="l" defTabSz="958675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51911" indent="-158995" algn="l" defTabSz="958675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05251" indent="-158995" algn="l" defTabSz="958675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58636" indent="-158995" algn="l" defTabSz="958675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12004" indent="-158995" algn="l" defTabSz="958675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65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728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094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446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819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190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567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913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0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1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1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3651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741363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5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7085014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89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6" y="7080251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53BFF9C3-F274-49E2-B65B-927A666BDDCC}" type="slidenum">
              <a:rPr lang="en-US" sz="1000">
                <a:solidFill>
                  <a:srgbClr val="808080"/>
                </a:solidFill>
              </a:rPr>
              <a:pPr defTabSz="966702"/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270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5" r:id="rId1"/>
    <p:sldLayoutId id="2147485296" r:id="rId2"/>
    <p:sldLayoutId id="2147485297" r:id="rId3"/>
    <p:sldLayoutId id="2147485298" r:id="rId4"/>
    <p:sldLayoutId id="2147485299" r:id="rId5"/>
    <p:sldLayoutId id="2147485300" r:id="rId6"/>
    <p:sldLayoutId id="2147485301" r:id="rId7"/>
    <p:sldLayoutId id="2147485302" r:id="rId8"/>
    <p:sldLayoutId id="2147485303" r:id="rId9"/>
    <p:sldLayoutId id="2147485304" r:id="rId10"/>
    <p:sldLayoutId id="2147485305" r:id="rId11"/>
    <p:sldLayoutId id="2147485306" r:id="rId12"/>
    <p:sldLayoutId id="2147485307" r:id="rId13"/>
    <p:sldLayoutId id="2147485308" r:id="rId14"/>
    <p:sldLayoutId id="2147485309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80" indent="-22858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479" indent="-17461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800029" indent="-169847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60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718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4348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150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866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5825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searchsecurity.techtarget.com/definition/authentication-factor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22.png"/><Relationship Id="rId3" Type="http://schemas.openxmlformats.org/officeDocument/2006/relationships/image" Target="../media/image21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jpe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igital Distribution</a:t>
            </a:r>
          </a:p>
        </p:txBody>
      </p:sp>
      <p:sp>
        <p:nvSpPr>
          <p:cNvPr id="4099" name="Subtitle 4"/>
          <p:cNvSpPr>
            <a:spLocks noGrp="1"/>
          </p:cNvSpPr>
          <p:nvPr>
            <p:ph type="subTitle" idx="1"/>
          </p:nvPr>
        </p:nvSpPr>
        <p:spPr>
          <a:xfrm>
            <a:off x="603250" y="2151063"/>
            <a:ext cx="8578850" cy="651580"/>
          </a:xfrm>
        </p:spPr>
        <p:txBody>
          <a:bodyPr/>
          <a:lstStyle/>
          <a:p>
            <a:r>
              <a:rPr lang="en-US" sz="3600" dirty="0" smtClean="0"/>
              <a:t>2FA Automation Utility</a:t>
            </a:r>
          </a:p>
        </p:txBody>
      </p:sp>
      <p:sp>
        <p:nvSpPr>
          <p:cNvPr id="410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0713" y="4810167"/>
            <a:ext cx="3452812" cy="734679"/>
          </a:xfrm>
        </p:spPr>
        <p:txBody>
          <a:bodyPr/>
          <a:lstStyle/>
          <a:p>
            <a:r>
              <a:rPr lang="en-US" dirty="0" smtClean="0"/>
              <a:t>         By</a:t>
            </a:r>
          </a:p>
          <a:p>
            <a:r>
              <a:rPr lang="en-US" dirty="0" smtClean="0"/>
              <a:t>Narasimhulu U</a:t>
            </a:r>
            <a:endParaRPr lang="en-US" dirty="0"/>
          </a:p>
        </p:txBody>
      </p:sp>
      <p:sp>
        <p:nvSpPr>
          <p:cNvPr id="4101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20720" y="381021"/>
            <a:ext cx="2255837" cy="251470"/>
          </a:xfrm>
        </p:spPr>
        <p:txBody>
          <a:bodyPr/>
          <a:lstStyle/>
          <a:p>
            <a:pPr eaLnBrk="1" hangingPunct="1"/>
            <a:r>
              <a:rPr lang="en-US" dirty="0" smtClean="0"/>
              <a:t>Personal Investing</a:t>
            </a:r>
          </a:p>
        </p:txBody>
      </p:sp>
    </p:spTree>
    <p:extLst>
      <p:ext uri="{BB962C8B-B14F-4D97-AF65-F5344CB8AC3E}">
        <p14:creationId xmlns:p14="http://schemas.microsoft.com/office/powerpoint/2010/main" val="43275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2FA Process</a:t>
            </a:r>
            <a:endParaRPr lang="en-US" sz="2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Fidelity Internal Informatio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42897" y="1671280"/>
            <a:ext cx="882310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	</a:t>
            </a:r>
            <a:r>
              <a:rPr lang="en-US" sz="1600" dirty="0" smtClean="0"/>
              <a:t>Two-factor </a:t>
            </a:r>
            <a:r>
              <a:rPr lang="en-US" sz="1600" dirty="0"/>
              <a:t>authentication (2FA), often referred to as two-step verification, is a security process in which the user provides two </a:t>
            </a:r>
            <a:r>
              <a:rPr lang="en-US" sz="1600" u="sng" dirty="0">
                <a:hlinkClick r:id="rId3"/>
              </a:rPr>
              <a:t>authentication factors</a:t>
            </a:r>
            <a:r>
              <a:rPr lang="en-US" sz="1600" dirty="0"/>
              <a:t> (Password &amp; Passcode) to verify they are who they say they are. </a:t>
            </a:r>
            <a:endParaRPr lang="en-US" sz="1600" dirty="0" smtClean="0"/>
          </a:p>
          <a:p>
            <a:endParaRPr lang="en-US" sz="1600" dirty="0"/>
          </a:p>
          <a:p>
            <a:endParaRPr lang="en-US" sz="1600" dirty="0"/>
          </a:p>
        </p:txBody>
      </p:sp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382" y="3052286"/>
            <a:ext cx="7958138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852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Application Development Phase</a:t>
            </a:r>
            <a:endParaRPr lang="en-US" sz="2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Fidelity Internal Informatio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42897" y="1671280"/>
            <a:ext cx="88231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	</a:t>
            </a:r>
          </a:p>
          <a:p>
            <a:endParaRPr lang="en-US" sz="1600" dirty="0"/>
          </a:p>
        </p:txBody>
      </p:sp>
      <p:sp>
        <p:nvSpPr>
          <p:cNvPr id="11" name="Right Arrow 10"/>
          <p:cNvSpPr/>
          <p:nvPr/>
        </p:nvSpPr>
        <p:spPr bwMode="auto">
          <a:xfrm rot="1619542">
            <a:off x="934897" y="4939711"/>
            <a:ext cx="755512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958" y="4470820"/>
            <a:ext cx="3464841" cy="1631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ight Arrow 12"/>
          <p:cNvSpPr/>
          <p:nvPr/>
        </p:nvSpPr>
        <p:spPr bwMode="auto">
          <a:xfrm>
            <a:off x="5329776" y="5491950"/>
            <a:ext cx="567806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098255" y="6101960"/>
            <a:ext cx="34671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0B050"/>
                </a:solidFill>
              </a:rPr>
              <a:t>Validating Single Component</a:t>
            </a:r>
          </a:p>
          <a:p>
            <a:endParaRPr lang="en-US" sz="1600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5" name="Picture 1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7682" y="1777775"/>
            <a:ext cx="3646597" cy="168034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14" y="3005423"/>
            <a:ext cx="1495425" cy="163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5954" y="1051974"/>
            <a:ext cx="4434293" cy="320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267" y="1680116"/>
            <a:ext cx="2444423" cy="1715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Oval 19"/>
          <p:cNvSpPr/>
          <p:nvPr/>
        </p:nvSpPr>
        <p:spPr bwMode="auto">
          <a:xfrm>
            <a:off x="2352671" y="2924171"/>
            <a:ext cx="971551" cy="652462"/>
          </a:xfrm>
          <a:prstGeom prst="ellipse">
            <a:avLst/>
          </a:prstGeom>
          <a:noFill/>
          <a:ln w="2857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1" name="Oval 20"/>
          <p:cNvSpPr/>
          <p:nvPr/>
        </p:nvSpPr>
        <p:spPr bwMode="auto">
          <a:xfrm>
            <a:off x="2047869" y="3171821"/>
            <a:ext cx="628653" cy="514350"/>
          </a:xfrm>
          <a:prstGeom prst="ellipse">
            <a:avLst/>
          </a:prstGeom>
          <a:noFill/>
          <a:ln w="2857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1843079" y="3428996"/>
            <a:ext cx="409580" cy="295275"/>
          </a:xfrm>
          <a:prstGeom prst="ellipse">
            <a:avLst/>
          </a:prstGeom>
          <a:noFill/>
          <a:ln w="2857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9218" name="Picture 2" descr="Image result for 2fa p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437" y="4253350"/>
            <a:ext cx="3842567" cy="2149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405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2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2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2FA Validation Current Flow</a:t>
            </a:r>
            <a:endParaRPr lang="en-US" sz="2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Fidelity Internal Information</a:t>
            </a:r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323" y="2184280"/>
            <a:ext cx="1216025" cy="83807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6314" y="2058819"/>
            <a:ext cx="881689" cy="10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utoShape 6" descr="Image result for i phone mobil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Right Arrow 21"/>
          <p:cNvSpPr/>
          <p:nvPr/>
        </p:nvSpPr>
        <p:spPr bwMode="auto">
          <a:xfrm>
            <a:off x="3687335" y="2542855"/>
            <a:ext cx="751182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3" name="Right Arrow 22"/>
          <p:cNvSpPr/>
          <p:nvPr/>
        </p:nvSpPr>
        <p:spPr bwMode="auto">
          <a:xfrm>
            <a:off x="5965399" y="2534606"/>
            <a:ext cx="804781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AutoShape 2" descr="VDL_Carts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171" name="Picture 3" descr="C:\Users\a573942\Pictures\VDL_Cart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6460" y="4214302"/>
            <a:ext cx="1767732" cy="995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ight Arrow 20"/>
          <p:cNvSpPr/>
          <p:nvPr/>
        </p:nvSpPr>
        <p:spPr bwMode="auto">
          <a:xfrm>
            <a:off x="6825006" y="4586337"/>
            <a:ext cx="608475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4" name="Right Arrow 23"/>
          <p:cNvSpPr/>
          <p:nvPr/>
        </p:nvSpPr>
        <p:spPr bwMode="auto">
          <a:xfrm>
            <a:off x="1585102" y="4471219"/>
            <a:ext cx="658112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717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5703" y="1888940"/>
            <a:ext cx="809625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0839" y="3982928"/>
            <a:ext cx="1380245" cy="1470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7" name="Picture 9" descr="C:\Users\a573942\Pictures\iphone-otp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097" y="4085060"/>
            <a:ext cx="645481" cy="1265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7431" y="3743613"/>
            <a:ext cx="2018063" cy="2116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3619" y="3870703"/>
            <a:ext cx="2356436" cy="220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Up-Down Arrow 24"/>
          <p:cNvSpPr/>
          <p:nvPr/>
        </p:nvSpPr>
        <p:spPr bwMode="auto">
          <a:xfrm rot="3866559">
            <a:off x="4872718" y="2812403"/>
            <a:ext cx="287095" cy="2136787"/>
          </a:xfrm>
          <a:prstGeom prst="upDown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3892947" y="4825161"/>
            <a:ext cx="883367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7430515" y="4849451"/>
            <a:ext cx="805833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29" name="Picture 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3461" y="4578145"/>
            <a:ext cx="714375" cy="73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itle 1"/>
          <p:cNvSpPr txBox="1">
            <a:spLocks/>
          </p:cNvSpPr>
          <p:nvPr/>
        </p:nvSpPr>
        <p:spPr bwMode="auto">
          <a:xfrm>
            <a:off x="324845" y="56564"/>
            <a:ext cx="9014916" cy="717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>
            <a:lvl1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+mj-lt"/>
                <a:ea typeface="+mj-ea"/>
                <a:cs typeface="+mj-cs"/>
              </a:defRPr>
            </a:lvl1pPr>
            <a:lvl2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2pPr>
            <a:lvl3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3pPr>
            <a:lvl4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4pPr>
            <a:lvl5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5pPr>
            <a:lvl6pPr marL="45715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6pPr>
            <a:lvl7pPr marL="91431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7pPr>
            <a:lvl8pPr marL="137147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8pPr>
            <a:lvl9pPr marL="182863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2200" kern="0" dirty="0" smtClean="0"/>
              <a:t>2FA Validation Automation Utility</a:t>
            </a:r>
            <a:endParaRPr lang="en-US" sz="2200" kern="0" dirty="0"/>
          </a:p>
        </p:txBody>
      </p:sp>
      <p:sp>
        <p:nvSpPr>
          <p:cNvPr id="33" name="Right Arrow 32"/>
          <p:cNvSpPr/>
          <p:nvPr/>
        </p:nvSpPr>
        <p:spPr bwMode="auto">
          <a:xfrm rot="20468074">
            <a:off x="1215829" y="2740468"/>
            <a:ext cx="755512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4" name="Right Arrow 33"/>
          <p:cNvSpPr/>
          <p:nvPr/>
        </p:nvSpPr>
        <p:spPr bwMode="auto">
          <a:xfrm>
            <a:off x="4769159" y="4584968"/>
            <a:ext cx="712322" cy="243143"/>
          </a:xfrm>
          <a:prstGeom prst="rightArrow">
            <a:avLst/>
          </a:prstGeom>
          <a:noFill/>
          <a:ln w="28575" cap="flat" cmpd="sng" algn="ctr">
            <a:solidFill>
              <a:srgbClr val="3C8A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3461" y="5275641"/>
            <a:ext cx="714375" cy="226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63778"/>
            <a:ext cx="1495425" cy="163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itle 1"/>
          <p:cNvSpPr txBox="1">
            <a:spLocks/>
          </p:cNvSpPr>
          <p:nvPr/>
        </p:nvSpPr>
        <p:spPr bwMode="auto">
          <a:xfrm>
            <a:off x="2415084" y="1320297"/>
            <a:ext cx="9014916" cy="717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>
            <a:lvl1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+mj-lt"/>
                <a:ea typeface="+mj-ea"/>
                <a:cs typeface="+mj-cs"/>
              </a:defRPr>
            </a:lvl1pPr>
            <a:lvl2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2pPr>
            <a:lvl3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3pPr>
            <a:lvl4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4pPr>
            <a:lvl5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5pPr>
            <a:lvl6pPr marL="45715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6pPr>
            <a:lvl7pPr marL="91431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7pPr>
            <a:lvl8pPr marL="137147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8pPr>
            <a:lvl9pPr marL="182863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800" kern="0" dirty="0" smtClean="0"/>
              <a:t>2FA Passcode Generation Process</a:t>
            </a:r>
            <a:endParaRPr lang="en-US" sz="1800" kern="0" dirty="0"/>
          </a:p>
        </p:txBody>
      </p:sp>
      <p:sp>
        <p:nvSpPr>
          <p:cNvPr id="37" name="Title 1"/>
          <p:cNvSpPr txBox="1">
            <a:spLocks/>
          </p:cNvSpPr>
          <p:nvPr/>
        </p:nvSpPr>
        <p:spPr bwMode="auto">
          <a:xfrm>
            <a:off x="1991113" y="5264125"/>
            <a:ext cx="6581387" cy="717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>
            <a:lvl1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+mj-lt"/>
                <a:ea typeface="+mj-ea"/>
                <a:cs typeface="+mj-cs"/>
              </a:defRPr>
            </a:lvl1pPr>
            <a:lvl2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2pPr>
            <a:lvl3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3pPr>
            <a:lvl4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4pPr>
            <a:lvl5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5pPr>
            <a:lvl6pPr marL="45715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6pPr>
            <a:lvl7pPr marL="91431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7pPr>
            <a:lvl8pPr marL="137147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8pPr>
            <a:lvl9pPr marL="182863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800" kern="0" dirty="0" smtClean="0"/>
              <a:t>Passcode reading and authenticating Process</a:t>
            </a:r>
            <a:endParaRPr lang="en-US" sz="1800" kern="0" dirty="0"/>
          </a:p>
        </p:txBody>
      </p:sp>
    </p:spTree>
    <p:extLst>
      <p:ext uri="{BB962C8B-B14F-4D97-AF65-F5344CB8AC3E}">
        <p14:creationId xmlns:p14="http://schemas.microsoft.com/office/powerpoint/2010/main" val="2622247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42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71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/>
                                        <p:tgtEl>
                                          <p:spTgt spid="71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7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7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42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1" grpId="0" animBg="1"/>
      <p:bldP spid="24" grpId="0" animBg="1"/>
      <p:bldP spid="25" grpId="0" animBg="1"/>
      <p:bldP spid="26" grpId="0" animBg="1"/>
      <p:bldP spid="27" grpId="0" animBg="1"/>
      <p:bldP spid="30" grpId="0"/>
      <p:bldP spid="34" grpId="0" animBg="1"/>
      <p:bldP spid="3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Benefits</a:t>
            </a:r>
            <a:endParaRPr lang="en-US" sz="2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Fidelity Internal Informatio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71500" y="1139515"/>
            <a:ext cx="88231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040036199"/>
              </p:ext>
            </p:extLst>
          </p:nvPr>
        </p:nvGraphicFramePr>
        <p:xfrm>
          <a:off x="1265018" y="1555013"/>
          <a:ext cx="6688357" cy="15977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703501" y="3486150"/>
            <a:ext cx="3279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2FA usage in the near future</a:t>
            </a:r>
            <a:endParaRPr lang="en-US" b="1" dirty="0"/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830686161"/>
              </p:ext>
            </p:extLst>
          </p:nvPr>
        </p:nvGraphicFramePr>
        <p:xfrm>
          <a:off x="809625" y="4038600"/>
          <a:ext cx="6372226" cy="1476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1478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Demo</a:t>
            </a:r>
            <a:endParaRPr lang="en-US" sz="2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Fidelity Internal Information</a:t>
            </a:r>
            <a:endParaRPr lang="en-US" dirty="0"/>
          </a:p>
        </p:txBody>
      </p:sp>
      <p:pic>
        <p:nvPicPr>
          <p:cNvPr id="13314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6400" y="2381250"/>
            <a:ext cx="2857500" cy="222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989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blank">
  <a:themeElements>
    <a:clrScheme name="blank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B8D30B"/>
      </a:accent2>
      <a:accent3>
        <a:srgbClr val="FFFFFF"/>
      </a:accent3>
      <a:accent4>
        <a:srgbClr val="000000"/>
      </a:accent4>
      <a:accent5>
        <a:srgbClr val="B6CAAA"/>
      </a:accent5>
      <a:accent6>
        <a:srgbClr val="A6BF09"/>
      </a:accent6>
      <a:hlink>
        <a:srgbClr val="0099CC"/>
      </a:hlink>
      <a:folHlink>
        <a:srgbClr val="005A8B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2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solidFill>
          <a:srgbClr val="DDDDDD"/>
        </a:solidFill>
        <a:ln>
          <a:solidFill>
            <a:schemeClr val="bg1">
              <a:lumMod val="65000"/>
            </a:schemeClr>
          </a:solidFill>
        </a:ln>
      </a:spPr>
      <a:bodyPr wrap="square" rtlCol="0">
        <a:noAutofit/>
      </a:bodyPr>
      <a:lstStyle>
        <a:defPPr algn="l"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6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1_green line template">
  <a:themeElements>
    <a:clrScheme name="green line templat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B8D30B"/>
      </a:accent2>
      <a:accent3>
        <a:srgbClr val="FFFFFF"/>
      </a:accent3>
      <a:accent4>
        <a:srgbClr val="000000"/>
      </a:accent4>
      <a:accent5>
        <a:srgbClr val="B6CAAA"/>
      </a:accent5>
      <a:accent6>
        <a:srgbClr val="A6BF09"/>
      </a:accent6>
      <a:hlink>
        <a:srgbClr val="0099CC"/>
      </a:hlink>
      <a:folHlink>
        <a:srgbClr val="005A8B"/>
      </a:folHlink>
    </a:clrScheme>
    <a:fontScheme name="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07" tIns="45704" rIns="91407" bIns="45704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E84614"/>
          </a:buClr>
          <a:buSzPct val="90000"/>
          <a:buFont typeface="Monotype Sorts" pitchFamily="2" charset="2"/>
          <a:buNone/>
          <a:tabLst/>
          <a:defRPr kumimoji="0" lang="en-US" sz="10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07" tIns="45704" rIns="91407" bIns="45704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E84614"/>
          </a:buClr>
          <a:buSzPct val="90000"/>
          <a:buFont typeface="Monotype Sorts" pitchFamily="2" charset="2"/>
          <a:buNone/>
          <a:tabLst/>
          <a:defRPr kumimoji="0" lang="en-US" sz="10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4_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3_Custom Design 4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B8D30B"/>
      </a:accent2>
      <a:accent3>
        <a:srgbClr val="FFFFFF"/>
      </a:accent3>
      <a:accent4>
        <a:srgbClr val="000000"/>
      </a:accent4>
      <a:accent5>
        <a:srgbClr val="B6CAAA"/>
      </a:accent5>
      <a:accent6>
        <a:srgbClr val="A6BF09"/>
      </a:accent6>
      <a:hlink>
        <a:srgbClr val="0099CC"/>
      </a:hlink>
      <a:folHlink>
        <a:srgbClr val="005A8B"/>
      </a:folHlink>
    </a:clrScheme>
    <a:fontScheme name="3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39600"/>
        </a:accent1>
        <a:accent2>
          <a:srgbClr val="98C6EA"/>
        </a:accent2>
        <a:accent3>
          <a:srgbClr val="FFFFFF"/>
        </a:accent3>
        <a:accent4>
          <a:srgbClr val="000000"/>
        </a:accent4>
        <a:accent5>
          <a:srgbClr val="BCC9AA"/>
        </a:accent5>
        <a:accent6>
          <a:srgbClr val="89B3D4"/>
        </a:accent6>
        <a:hlink>
          <a:srgbClr val="ABC785"/>
        </a:hlink>
        <a:folHlink>
          <a:srgbClr val="C1E2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39600"/>
        </a:accent1>
        <a:accent2>
          <a:srgbClr val="6CADE4"/>
        </a:accent2>
        <a:accent3>
          <a:srgbClr val="FFFFFF"/>
        </a:accent3>
        <a:accent4>
          <a:srgbClr val="000000"/>
        </a:accent4>
        <a:accent5>
          <a:srgbClr val="BCC9AA"/>
        </a:accent5>
        <a:accent6>
          <a:srgbClr val="619CCF"/>
        </a:accent6>
        <a:hlink>
          <a:srgbClr val="ABC785"/>
        </a:hlink>
        <a:folHlink>
          <a:srgbClr val="C1E2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solidFill>
          <a:srgbClr val="DDDDDD"/>
        </a:solidFill>
        <a:ln>
          <a:solidFill>
            <a:schemeClr val="bg1">
              <a:lumMod val="65000"/>
            </a:schemeClr>
          </a:solidFill>
        </a:ln>
      </a:spPr>
      <a:bodyPr wrap="square" rtlCol="0">
        <a:noAutofit/>
      </a:bodyPr>
      <a:lstStyle>
        <a:defPPr algn="l"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solidFill>
          <a:srgbClr val="DDDDDD"/>
        </a:solidFill>
        <a:ln>
          <a:solidFill>
            <a:schemeClr val="bg1">
              <a:lumMod val="65000"/>
            </a:schemeClr>
          </a:solidFill>
        </a:ln>
      </a:spPr>
      <a:bodyPr wrap="square" rtlCol="0">
        <a:noAutofit/>
      </a:bodyPr>
      <a:lstStyle>
        <a:defPPr algn="l"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0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Green Line Template</Template>
  <TotalTime>90266</TotalTime>
  <Words>92</Words>
  <Application>Microsoft Office PowerPoint</Application>
  <PresentationFormat>Custom</PresentationFormat>
  <Paragraphs>38</Paragraphs>
  <Slides>6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2" baseType="lpstr">
      <vt:lpstr>New Green Line Template</vt:lpstr>
      <vt:lpstr>3_Custom Design</vt:lpstr>
      <vt:lpstr>blank</vt:lpstr>
      <vt:lpstr>1_blank</vt:lpstr>
      <vt:lpstr>1_New Green Line Template</vt:lpstr>
      <vt:lpstr>10_blank</vt:lpstr>
      <vt:lpstr>2_blank</vt:lpstr>
      <vt:lpstr>3_blank</vt:lpstr>
      <vt:lpstr>2_New Green Line Template</vt:lpstr>
      <vt:lpstr>4_blank</vt:lpstr>
      <vt:lpstr>5_blank</vt:lpstr>
      <vt:lpstr>6_blank</vt:lpstr>
      <vt:lpstr>3_New Green Line Template</vt:lpstr>
      <vt:lpstr>11_green line template</vt:lpstr>
      <vt:lpstr>4_New Green Line Template</vt:lpstr>
      <vt:lpstr>think-cell Slide</vt:lpstr>
      <vt:lpstr>Digital Distribution</vt:lpstr>
      <vt:lpstr>2FA Process</vt:lpstr>
      <vt:lpstr>Application Development Phase</vt:lpstr>
      <vt:lpstr>2FA Validation Current Flow</vt:lpstr>
      <vt:lpstr>Benefits</vt:lpstr>
      <vt:lpstr>Demo</vt:lpstr>
    </vt:vector>
  </TitlesOfParts>
  <Company>Fidelity Investment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/Project Name   Business Case</dc:title>
  <dc:creator>a361251</dc:creator>
  <cp:lastModifiedBy>U, Narasimhulu</cp:lastModifiedBy>
  <cp:revision>1340</cp:revision>
  <cp:lastPrinted>2014-08-29T18:47:35Z</cp:lastPrinted>
  <dcterms:created xsi:type="dcterms:W3CDTF">2009-12-07T14:05:34Z</dcterms:created>
  <dcterms:modified xsi:type="dcterms:W3CDTF">2018-05-18T14:3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137860733</vt:i4>
  </property>
  <property fmtid="{D5CDD505-2E9C-101B-9397-08002B2CF9AE}" pid="4" name="_EmailSubject">
    <vt:lpwstr>DoS Deck</vt:lpwstr>
  </property>
  <property fmtid="{D5CDD505-2E9C-101B-9397-08002B2CF9AE}" pid="5" name="_AuthorEmail">
    <vt:lpwstr>Peter.Ferrera@fmr.com</vt:lpwstr>
  </property>
  <property fmtid="{D5CDD505-2E9C-101B-9397-08002B2CF9AE}" pid="6" name="_AuthorEmailDisplayName">
    <vt:lpwstr>Ferrera, Peter</vt:lpwstr>
  </property>
  <property fmtid="{D5CDD505-2E9C-101B-9397-08002B2CF9AE}" pid="7" name="Offisync_ServerID">
    <vt:lpwstr>b66ae4db-2d31-4d69-9e9c-43dcde94714b</vt:lpwstr>
  </property>
  <property fmtid="{D5CDD505-2E9C-101B-9397-08002B2CF9AE}" pid="8" name="Jive_VersionGuid">
    <vt:lpwstr>fd87fe35-b4d4-4fb8-a680-cf43029c096c</vt:lpwstr>
  </property>
  <property fmtid="{D5CDD505-2E9C-101B-9397-08002B2CF9AE}" pid="9" name="Jive_LatestUserAccountName">
    <vt:lpwstr>a573942</vt:lpwstr>
  </property>
  <property fmtid="{D5CDD505-2E9C-101B-9397-08002B2CF9AE}" pid="10" name="Offisync_ProviderInitializationData">
    <vt:lpwstr>https://ribbit.fmr.com</vt:lpwstr>
  </property>
  <property fmtid="{D5CDD505-2E9C-101B-9397-08002B2CF9AE}" pid="11" name="Offisync_UniqueId">
    <vt:lpwstr>385886</vt:lpwstr>
  </property>
  <property fmtid="{D5CDD505-2E9C-101B-9397-08002B2CF9AE}" pid="12" name="Offisync_UpdateToken">
    <vt:lpwstr>1</vt:lpwstr>
  </property>
</Properties>
</file>